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48"/>
  </p:notesMasterIdLst>
  <p:sldIdLst>
    <p:sldId id="256" r:id="rId2"/>
    <p:sldId id="282" r:id="rId3"/>
    <p:sldId id="306" r:id="rId4"/>
    <p:sldId id="283" r:id="rId5"/>
    <p:sldId id="284" r:id="rId6"/>
    <p:sldId id="285" r:id="rId7"/>
    <p:sldId id="304" r:id="rId8"/>
    <p:sldId id="298" r:id="rId9"/>
    <p:sldId id="321" r:id="rId10"/>
    <p:sldId id="322" r:id="rId11"/>
    <p:sldId id="323" r:id="rId12"/>
    <p:sldId id="324" r:id="rId13"/>
    <p:sldId id="290" r:id="rId14"/>
    <p:sldId id="299" r:id="rId15"/>
    <p:sldId id="310" r:id="rId16"/>
    <p:sldId id="311" r:id="rId17"/>
    <p:sldId id="303" r:id="rId18"/>
    <p:sldId id="308" r:id="rId19"/>
    <p:sldId id="309" r:id="rId20"/>
    <p:sldId id="296" r:id="rId21"/>
    <p:sldId id="297" r:id="rId22"/>
    <p:sldId id="312" r:id="rId23"/>
    <p:sldId id="313" r:id="rId24"/>
    <p:sldId id="314" r:id="rId25"/>
    <p:sldId id="315" r:id="rId26"/>
    <p:sldId id="316" r:id="rId27"/>
    <p:sldId id="319" r:id="rId28"/>
    <p:sldId id="320" r:id="rId29"/>
    <p:sldId id="259" r:id="rId30"/>
    <p:sldId id="307" r:id="rId31"/>
    <p:sldId id="300" r:id="rId32"/>
    <p:sldId id="301" r:id="rId33"/>
    <p:sldId id="302" r:id="rId34"/>
    <p:sldId id="268" r:id="rId35"/>
    <p:sldId id="305" r:id="rId36"/>
    <p:sldId id="325" r:id="rId37"/>
    <p:sldId id="326" r:id="rId38"/>
    <p:sldId id="327" r:id="rId39"/>
    <p:sldId id="328" r:id="rId40"/>
    <p:sldId id="329" r:id="rId41"/>
    <p:sldId id="330" r:id="rId42"/>
    <p:sldId id="333" r:id="rId43"/>
    <p:sldId id="334" r:id="rId44"/>
    <p:sldId id="331" r:id="rId45"/>
    <p:sldId id="335" r:id="rId46"/>
    <p:sldId id="336" r:id="rId47"/>
  </p:sldIdLst>
  <p:sldSz cx="9144000" cy="6858000" type="screen4x3"/>
  <p:notesSz cx="6883400" cy="9906000"/>
  <p:custDataLst>
    <p:tags r:id="rId49"/>
  </p:custDataLst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33"/>
    <a:srgbClr val="B9DEA8"/>
    <a:srgbClr val="2164B5"/>
    <a:srgbClr val="FFB7B7"/>
    <a:srgbClr val="FFF1C5"/>
    <a:srgbClr val="A88000"/>
    <a:srgbClr val="FFF6D9"/>
    <a:srgbClr val="FFECAF"/>
    <a:srgbClr val="0D388D"/>
    <a:srgbClr val="B97A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777" autoAdjust="0"/>
  </p:normalViewPr>
  <p:slideViewPr>
    <p:cSldViewPr>
      <p:cViewPr>
        <p:scale>
          <a:sx n="80" d="100"/>
          <a:sy n="80" d="100"/>
        </p:scale>
        <p:origin x="-1584" y="-18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51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99000" y="0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/>
          <a:lstStyle>
            <a:lvl1pPr algn="r">
              <a:defRPr sz="1300"/>
            </a:lvl1pPr>
          </a:lstStyle>
          <a:p>
            <a:fld id="{8E00AFEF-45DD-4FC8-A0E4-C8A49B535849}" type="datetimeFigureOut">
              <a:rPr lang="pt-BR" smtClean="0"/>
              <a:t>03/12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939" tIns="47969" rIns="95939" bIns="47969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8340" y="4705350"/>
            <a:ext cx="5506720" cy="4457700"/>
          </a:xfrm>
          <a:prstGeom prst="rect">
            <a:avLst/>
          </a:prstGeom>
        </p:spPr>
        <p:txBody>
          <a:bodyPr vert="horz" lIns="95939" tIns="47969" rIns="95939" bIns="47969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99000" y="9408981"/>
            <a:ext cx="2982807" cy="495300"/>
          </a:xfrm>
          <a:prstGeom prst="rect">
            <a:avLst/>
          </a:prstGeom>
        </p:spPr>
        <p:txBody>
          <a:bodyPr vert="horz" lIns="95939" tIns="47969" rIns="95939" bIns="47969" rtlCol="0" anchor="b"/>
          <a:lstStyle>
            <a:lvl1pPr algn="r">
              <a:defRPr sz="1300"/>
            </a:lvl1pPr>
          </a:lstStyle>
          <a:p>
            <a:fld id="{B70E743B-BACF-437C-BB21-A32F488A9E6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977852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0E743B-BACF-437C-BB21-A32F488A9E6B}" type="slidenum">
              <a:rPr lang="pt-BR" smtClean="0"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530250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2CDA99A-4FB9-4CB1-B3A1-98F8FD38C821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8170989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76FF38C-0CC5-475C-BF68-D0A0FDE49F79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642578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3FB68C-FA84-4BE7-A664-F4216AF4B402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2589034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pt-BR" dirty="0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EDF2C6A-3BCE-4777-AEA8-8ABD07ED3A7E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967134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B8FC45B-6ABC-4C81-B524-723F0CD560E6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6518033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32B5938-30E5-4C5C-B99C-CADDB92F0011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680182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B0712E4-8FAD-448B-89B4-66DC266127D6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7412943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54A8702-F128-403D-B4AF-2712199B2D64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19989020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8D8F2A6-5F4B-481C-848B-DC7C67F200CD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181544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269A614-1452-4CD3-B6B1-746201651232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24541057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pt-BR" alt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C08B5F1-F928-41FE-BC19-2F5A321061F6}" type="slidenum">
              <a:rPr lang="pt-BR" altLang="pt-BR"/>
              <a:pPr/>
              <a:t>‹nº›</a:t>
            </a:fld>
            <a:endParaRPr lang="pt-BR" altLang="pt-BR"/>
          </a:p>
        </p:txBody>
      </p:sp>
    </p:spTree>
    <p:extLst>
      <p:ext uri="{BB962C8B-B14F-4D97-AF65-F5344CB8AC3E}">
        <p14:creationId xmlns:p14="http://schemas.microsoft.com/office/powerpoint/2010/main" val="30248382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58748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9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smtClean="0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altLang="pt-BR" dirty="0" smtClean="0"/>
              <a:t>Clique para editar os estilos do texto mestre</a:t>
            </a:r>
          </a:p>
          <a:p>
            <a:pPr lvl="1"/>
            <a:r>
              <a:rPr lang="pt-BR" altLang="pt-BR" dirty="0" smtClean="0"/>
              <a:t>Segundo nível</a:t>
            </a:r>
          </a:p>
          <a:p>
            <a:pPr lvl="2"/>
            <a:r>
              <a:rPr lang="pt-BR" altLang="pt-BR" dirty="0" smtClean="0"/>
              <a:t>Terceiro nível</a:t>
            </a:r>
          </a:p>
          <a:p>
            <a:pPr lvl="3"/>
            <a:r>
              <a:rPr lang="pt-BR" altLang="pt-BR" dirty="0" smtClean="0"/>
              <a:t>Quarto nível</a:t>
            </a:r>
          </a:p>
          <a:p>
            <a:pPr lvl="4"/>
            <a:r>
              <a:rPr lang="pt-BR" altLang="pt-BR" dirty="0" smtClean="0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pt-BR" altLang="pt-B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pt-BR" altLang="pt-B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DCF3240E-2942-40B7-A1CF-3044C366C5DA}" type="slidenum">
              <a:rPr lang="pt-BR" altLang="pt-BR"/>
              <a:pPr/>
              <a:t>‹nº›</a:t>
            </a:fld>
            <a:endParaRPr lang="pt-BR" alt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7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1.jpeg"/><Relationship Id="rId2" Type="http://schemas.openxmlformats.org/officeDocument/2006/relationships/tags" Target="../tags/tag56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3.emf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oleObject" Target="../embeddings/oleObject2.bin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2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4.png"/><Relationship Id="rId2" Type="http://schemas.openxmlformats.org/officeDocument/2006/relationships/tags" Target="../tags/tag1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33.png"/><Relationship Id="rId2" Type="http://schemas.openxmlformats.org/officeDocument/2006/relationships/tags" Target="../tags/tag6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5.jpeg"/><Relationship Id="rId2" Type="http://schemas.openxmlformats.org/officeDocument/2006/relationships/tags" Target="../tags/tag7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7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9.jpeg"/><Relationship Id="rId2" Type="http://schemas.openxmlformats.org/officeDocument/2006/relationships/tags" Target="../tags/tag7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4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4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4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oleObject" Target="../embeddings/oleObject6.bin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image" Target="../media/image1.emf"/><Relationship Id="rId2" Type="http://schemas.openxmlformats.org/officeDocument/2006/relationships/tags" Target="../tags/tag17.xml"/><Relationship Id="rId16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25.xml"/><Relationship Id="rId19" Type="http://schemas.openxmlformats.org/officeDocument/2006/relationships/image" Target="../media/image5.emf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4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5.png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4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4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4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0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oleObject" Target="../embeddings/oleObject7.bin"/><Relationship Id="rId3" Type="http://schemas.openxmlformats.org/officeDocument/2006/relationships/tags" Target="../tags/tag31.xml"/><Relationship Id="rId21" Type="http://schemas.openxmlformats.org/officeDocument/2006/relationships/image" Target="../media/image6.emf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6" Type="http://schemas.openxmlformats.org/officeDocument/2006/relationships/tags" Target="../tags/tag44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5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10" Type="http://schemas.openxmlformats.org/officeDocument/2006/relationships/tags" Target="../tags/tag38.xml"/><Relationship Id="rId19" Type="http://schemas.openxmlformats.org/officeDocument/2006/relationships/image" Target="../media/image1.emf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4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138923" y="1412776"/>
            <a:ext cx="7772400" cy="1470025"/>
          </a:xfrm>
        </p:spPr>
        <p:txBody>
          <a:bodyPr/>
          <a:lstStyle/>
          <a:p>
            <a:r>
              <a:rPr lang="pt-BR" altLang="pt-BR" sz="5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uvas de Verão 2015/16</a:t>
            </a:r>
            <a:endParaRPr lang="pt-BR" altLang="pt-BR" sz="5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824723" y="3548608"/>
            <a:ext cx="6400800" cy="2184648"/>
          </a:xfrm>
        </p:spPr>
        <p:txBody>
          <a:bodyPr/>
          <a:lstStyle/>
          <a:p>
            <a:r>
              <a:rPr lang="pt-BR" altLang="pt-BR" dirty="0" smtClean="0"/>
              <a:t>Secretaria Municipal de Infraestrutura Urbana e Obras</a:t>
            </a:r>
          </a:p>
          <a:p>
            <a:endParaRPr lang="pt-BR" altLang="pt-BR" dirty="0"/>
          </a:p>
          <a:p>
            <a:r>
              <a:rPr lang="pt-BR" altLang="pt-BR" sz="2600" dirty="0" smtClean="0"/>
              <a:t>São Paulo, </a:t>
            </a:r>
            <a:r>
              <a:rPr lang="pt-BR" altLang="pt-BR" sz="2600" dirty="0" smtClean="0"/>
              <a:t>07 </a:t>
            </a:r>
            <a:r>
              <a:rPr lang="pt-BR" altLang="pt-BR" sz="2600" dirty="0" smtClean="0"/>
              <a:t>de Dezembro de 2015</a:t>
            </a:r>
            <a:endParaRPr lang="pt-BR" altLang="pt-BR" sz="26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156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85% de execução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187" name="Picture 3" descr="C:\Users\x050317\Downloads\IMG_20151127_093343452_HD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5331" y="1700808"/>
            <a:ext cx="7563215" cy="4248472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2519772" y="6042774"/>
            <a:ext cx="51485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i="1" dirty="0" smtClean="0"/>
              <a:t>Execução de canal na Rua Baltazar de Sá</a:t>
            </a:r>
            <a:endParaRPr lang="pt-BR" sz="1600" i="1" dirty="0"/>
          </a:p>
        </p:txBody>
      </p:sp>
    </p:spTree>
    <p:extLst>
      <p:ext uri="{BB962C8B-B14F-4D97-AF65-F5344CB8AC3E}">
        <p14:creationId xmlns:p14="http://schemas.microsoft.com/office/powerpoint/2010/main" val="201968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156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85% de execução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4212" name="Picture 4" descr="C:\Users\x050317\Downloads\IMG_20151127_102026943_HD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2322" y="1700808"/>
            <a:ext cx="7392182" cy="4152398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2591780" y="6042774"/>
            <a:ext cx="51485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i="1" dirty="0" smtClean="0"/>
              <a:t>Execução de canal na Rua Capitânias Hereditárias x Jardim Letícia</a:t>
            </a:r>
            <a:endParaRPr lang="pt-BR" sz="1600" i="1" dirty="0"/>
          </a:p>
        </p:txBody>
      </p:sp>
    </p:spTree>
    <p:extLst>
      <p:ext uri="{BB962C8B-B14F-4D97-AF65-F5344CB8AC3E}">
        <p14:creationId xmlns:p14="http://schemas.microsoft.com/office/powerpoint/2010/main" val="201968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62985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85% de execução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234" name="Picture 2" descr="C:\Users\x050317\Downloads\IMG_20151127_100719885_HD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1732858"/>
            <a:ext cx="7377968" cy="4144414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tângulo 6"/>
          <p:cNvSpPr/>
          <p:nvPr/>
        </p:nvSpPr>
        <p:spPr>
          <a:xfrm>
            <a:off x="2734370" y="5970766"/>
            <a:ext cx="5148572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i="1" dirty="0" smtClean="0"/>
              <a:t>Execução do viário pós Magaldi</a:t>
            </a:r>
            <a:endParaRPr lang="pt-BR" sz="1600" i="1" dirty="0"/>
          </a:p>
        </p:txBody>
      </p:sp>
    </p:spTree>
    <p:extLst>
      <p:ext uri="{BB962C8B-B14F-4D97-AF65-F5344CB8AC3E}">
        <p14:creationId xmlns:p14="http://schemas.microsoft.com/office/powerpoint/2010/main" val="3561513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4351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4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7973" name="Picture 85" descr="C:\Users\x050317\AppData\Local\Microsoft\Windows\Temporary Internet Files\Content.Outlook\FC27SWDW\Cordeiro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39" t="3484" r="11512" b="3978"/>
          <a:stretch/>
        </p:blipFill>
        <p:spPr bwMode="auto">
          <a:xfrm>
            <a:off x="83431" y="1442900"/>
            <a:ext cx="4560577" cy="4938428"/>
          </a:xfrm>
          <a:prstGeom prst="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Fase 1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713672" y="1442900"/>
            <a:ext cx="4283968" cy="4938428"/>
          </a:xfrm>
        </p:spPr>
        <p:txBody>
          <a:bodyPr/>
          <a:lstStyle/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b="1" dirty="0" smtClean="0"/>
              <a:t>R2 e R3 já com funcionalidade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dirty="0" smtClean="0"/>
              <a:t>R$ 177 Mi (PMSP)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dirty="0" smtClean="0"/>
              <a:t>200 trabalhadores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dirty="0" smtClean="0"/>
              <a:t>Foco no R2: conclusão em </a:t>
            </a:r>
            <a:r>
              <a:rPr lang="pt-BR" altLang="pt-BR" dirty="0" err="1" smtClean="0"/>
              <a:t>jul</a:t>
            </a:r>
            <a:r>
              <a:rPr lang="pt-BR" altLang="pt-BR" dirty="0" smtClean="0"/>
              <a:t>/16. R3 em set/16</a:t>
            </a: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de cantos arredondados 3"/>
          <p:cNvSpPr/>
          <p:nvPr/>
        </p:nvSpPr>
        <p:spPr>
          <a:xfrm>
            <a:off x="1727684" y="2183921"/>
            <a:ext cx="2592288" cy="1728193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85725" algn="ctr">
              <a:spcBef>
                <a:spcPts val="0"/>
              </a:spcBef>
            </a:pPr>
            <a:r>
              <a:rPr kumimoji="1" lang="pt-BR" i="1" dirty="0" smtClean="0">
                <a:solidFill>
                  <a:schemeClr val="tx1"/>
                </a:solidFill>
              </a:rPr>
              <a:t>Principais avenidas impactadas pela funcionalidade dos Reservatórios 2 e 3: </a:t>
            </a:r>
            <a:r>
              <a:rPr kumimoji="1" lang="pt-BR" b="1" i="1" dirty="0" smtClean="0">
                <a:solidFill>
                  <a:schemeClr val="tx1"/>
                </a:solidFill>
              </a:rPr>
              <a:t>Prof. Vicente Rao e Ver. João de Luca</a:t>
            </a:r>
            <a:endParaRPr kumimoji="1" lang="pt-BR" b="1" i="1" dirty="0">
              <a:solidFill>
                <a:schemeClr val="tx1"/>
              </a:solidFill>
            </a:endParaRPr>
          </a:p>
        </p:txBody>
      </p:sp>
      <p:cxnSp>
        <p:nvCxnSpPr>
          <p:cNvPr id="11" name="Conector de seta reta 10"/>
          <p:cNvCxnSpPr/>
          <p:nvPr/>
        </p:nvCxnSpPr>
        <p:spPr>
          <a:xfrm flipH="1">
            <a:off x="1439652" y="4437112"/>
            <a:ext cx="540060" cy="656209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tângulo de cantos arredondados 11"/>
          <p:cNvSpPr/>
          <p:nvPr/>
        </p:nvSpPr>
        <p:spPr>
          <a:xfrm>
            <a:off x="323528" y="4977703"/>
            <a:ext cx="1513302" cy="85100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85725" algn="ctr">
              <a:spcBef>
                <a:spcPts val="0"/>
              </a:spcBef>
            </a:pPr>
            <a:r>
              <a:rPr kumimoji="1" lang="pt-BR" sz="1600" i="1" dirty="0" smtClean="0">
                <a:solidFill>
                  <a:schemeClr val="tx1"/>
                </a:solidFill>
              </a:rPr>
              <a:t>Mancha azul – redução do alagamento</a:t>
            </a:r>
            <a:endParaRPr kumimoji="1" lang="pt-BR" sz="1600" i="1" dirty="0">
              <a:solidFill>
                <a:schemeClr val="tx1"/>
              </a:solidFill>
            </a:endParaRPr>
          </a:p>
        </p:txBody>
      </p:sp>
      <p:sp>
        <p:nvSpPr>
          <p:cNvPr id="10" name="Retângulo 9"/>
          <p:cNvSpPr/>
          <p:nvPr/>
        </p:nvSpPr>
        <p:spPr>
          <a:xfrm rot="20099119">
            <a:off x="6377048" y="5265395"/>
            <a:ext cx="2493536" cy="576064"/>
          </a:xfrm>
          <a:prstGeom prst="rect">
            <a:avLst/>
          </a:prstGeom>
          <a:solidFill>
            <a:srgbClr val="FFB7B7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R$ 40 Mi executados em 2015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7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3997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6593" name="Picture 33" descr="C:\Users\x050317\Downloads\RCO-02 - Outubro-2014 - 0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56" r="23282"/>
          <a:stretch/>
        </p:blipFill>
        <p:spPr bwMode="auto">
          <a:xfrm>
            <a:off x="1547665" y="2348880"/>
            <a:ext cx="3705560" cy="4032448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594" name="Picture 34" descr="C:\Users\x050317\Downloads\RCO-02 - Outubro-2015 - 02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90" t="19723" r="28189" b="9074"/>
          <a:stretch/>
        </p:blipFill>
        <p:spPr bwMode="auto">
          <a:xfrm>
            <a:off x="5292081" y="2348880"/>
            <a:ext cx="3705560" cy="4032448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2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665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Dez/14</a:t>
            </a:r>
            <a:endParaRPr lang="pt-BR" altLang="pt-BR" sz="2400" i="1" kern="0" dirty="0" smtClean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292080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Dez/15</a:t>
            </a:r>
          </a:p>
        </p:txBody>
      </p: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4" name="Elipse 13"/>
          <p:cNvSpPr/>
          <p:nvPr/>
        </p:nvSpPr>
        <p:spPr>
          <a:xfrm>
            <a:off x="4189637" y="2407072"/>
            <a:ext cx="958427" cy="491824"/>
          </a:xfrm>
          <a:prstGeom prst="ellipse">
            <a:avLst/>
          </a:prstGeom>
          <a:solidFill>
            <a:srgbClr val="FFC000"/>
          </a:solidFill>
          <a:ln>
            <a:solidFill>
              <a:srgbClr val="A8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37%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5" name="Elipse 14"/>
          <p:cNvSpPr/>
          <p:nvPr/>
        </p:nvSpPr>
        <p:spPr>
          <a:xfrm>
            <a:off x="7956376" y="2407072"/>
            <a:ext cx="958427" cy="491824"/>
          </a:xfrm>
          <a:prstGeom prst="ellipse">
            <a:avLst/>
          </a:prstGeom>
          <a:solidFill>
            <a:srgbClr val="FFC000"/>
          </a:solidFill>
          <a:ln>
            <a:solidFill>
              <a:srgbClr val="A8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77%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0336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3320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2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2" descr="Displaying RCO-02 - Outubro-2015 - 01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81923" name="Picture 3" descr="C:\Users\x050317\Downloads\RCO-02 - Outubro-2015 - 01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19" t="19640" r="15195" b="17204"/>
          <a:stretch/>
        </p:blipFill>
        <p:spPr bwMode="auto">
          <a:xfrm>
            <a:off x="1691680" y="1556792"/>
            <a:ext cx="7260809" cy="4752528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91077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7270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2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2" descr="Displaying RCO-02 - Outubro-2015 - 01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82946" name="Picture 2" descr="C:\Users\x050317\Downloads\RCO-02 - Outubro-2015 - 03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1680" y="1556792"/>
            <a:ext cx="7233952" cy="4827043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81689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90444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8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5" name="Picture 3" descr="C:\Users\x050317\Downloads\RCO-03 - Outubro-2014 - 0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522" t="468" r="18134" b="-468"/>
          <a:stretch/>
        </p:blipFill>
        <p:spPr bwMode="auto">
          <a:xfrm>
            <a:off x="1547665" y="2354238"/>
            <a:ext cx="3705560" cy="4027089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758" name="Picture 6" descr="C:\Users\x050317\Downloads\RCO-03 - Outubro 2015 - 02 (1)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300" r="19300"/>
          <a:stretch/>
        </p:blipFill>
        <p:spPr bwMode="auto">
          <a:xfrm>
            <a:off x="5292081" y="2354238"/>
            <a:ext cx="3705559" cy="4027090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3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665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Dez/14</a:t>
            </a:r>
            <a:endParaRPr lang="pt-BR" altLang="pt-BR" sz="2400" i="1" kern="0" dirty="0" smtClean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292080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Dez/15</a:t>
            </a:r>
          </a:p>
        </p:txBody>
      </p: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2" descr="Displaying RCO-03 - Outubro-2014 - 03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" name="AutoShape 5" descr="Displaying RCO-03 - Outubro 2015 - 02.JPG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16" name="Elipse 15"/>
          <p:cNvSpPr/>
          <p:nvPr/>
        </p:nvSpPr>
        <p:spPr>
          <a:xfrm>
            <a:off x="4189637" y="2407072"/>
            <a:ext cx="958427" cy="491824"/>
          </a:xfrm>
          <a:prstGeom prst="ellipse">
            <a:avLst/>
          </a:prstGeom>
          <a:solidFill>
            <a:srgbClr val="FFC000"/>
          </a:solidFill>
          <a:ln>
            <a:solidFill>
              <a:srgbClr val="A8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40%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17" name="Elipse 16"/>
          <p:cNvSpPr/>
          <p:nvPr/>
        </p:nvSpPr>
        <p:spPr>
          <a:xfrm>
            <a:off x="7956376" y="2407072"/>
            <a:ext cx="958427" cy="491824"/>
          </a:xfrm>
          <a:prstGeom prst="ellipse">
            <a:avLst/>
          </a:prstGeom>
          <a:solidFill>
            <a:srgbClr val="FFC000"/>
          </a:solidFill>
          <a:ln>
            <a:solidFill>
              <a:srgbClr val="A8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68%</a:t>
            </a:r>
            <a:endParaRPr lang="pt-BR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493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848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3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2" descr="Displaying RCO-03 - Outubro-2014 - 03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" name="AutoShape 5" descr="Displaying RCO-03 - Outubro 2015 - 02.JPG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79874" name="Picture 2" descr="C:\Users\x050317\Downloads\RCO-03 - Outubro-2015 - 0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6926" y="1556792"/>
            <a:ext cx="7250714" cy="4838228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0746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5247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rdeiro – R3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AutoShape 28" descr="Displaying RCO-02 - Outubro-2014 - 03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5" name="AutoShape 30" descr="Displaying RCO-02 - Outubro-2014 - 03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6" name="AutoShape 32" descr="Displaying RCO-02 - Outubro-2014 - 03.jpg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7" name="AutoShape 2" descr="Displaying RCO-03 - Outubro-2014 - 03.jpg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sp>
        <p:nvSpPr>
          <p:cNvPr id="8" name="AutoShape 5" descr="Displaying RCO-03 - Outubro 2015 - 02.JPG"/>
          <p:cNvSpPr>
            <a:spLocks noChangeAspect="1" noChangeArrowheads="1"/>
          </p:cNvSpPr>
          <p:nvPr/>
        </p:nvSpPr>
        <p:spPr bwMode="auto">
          <a:xfrm>
            <a:off x="765175" y="4651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80898" name="Picture 2" descr="C:\Users\x050317\Downloads\RCO-03 - Outubro 2015 - 03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67" t="31949" r="31429" b="17838"/>
          <a:stretch/>
        </p:blipFill>
        <p:spPr bwMode="auto">
          <a:xfrm>
            <a:off x="2483768" y="1588915"/>
            <a:ext cx="5256584" cy="4878412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1980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379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4" name="Slide do think-cell" r:id="rId15" imgW="270" imgH="270" progId="TCLayout.ActiveDocument.1">
                  <p:embed/>
                </p:oleObj>
              </mc:Choice>
              <mc:Fallback>
                <p:oleObj name="Slide do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pt-BR" sz="3500">
              <a:sym typeface="+mn-lt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413464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$ 4,8 bi de </a:t>
            </a:r>
            <a:r>
              <a:rPr lang="pt-BR" altLang="pt-BR" sz="39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vesti-mentos</a:t>
            </a:r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em Drenagem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>
            <p:custDataLst>
              <p:tags r:id="rId4"/>
            </p:custDataLst>
          </p:nvPr>
        </p:nvCxnSpPr>
        <p:spPr bwMode="auto">
          <a:xfrm>
            <a:off x="3019425" y="4229100"/>
            <a:ext cx="7905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>
            <p:custDataLst>
              <p:tags r:id="rId5"/>
            </p:custDataLst>
          </p:nvPr>
        </p:nvCxnSpPr>
        <p:spPr bwMode="auto">
          <a:xfrm>
            <a:off x="4810125" y="3933825"/>
            <a:ext cx="7905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ector reto 28"/>
          <p:cNvCxnSpPr/>
          <p:nvPr>
            <p:custDataLst>
              <p:tags r:id="rId6"/>
            </p:custDataLst>
          </p:nvPr>
        </p:nvCxnSpPr>
        <p:spPr bwMode="auto">
          <a:xfrm>
            <a:off x="6591300" y="2800350"/>
            <a:ext cx="790575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Objeto 6"/>
          <p:cNvGraphicFramePr>
            <a:graphicFrameLocks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24319437"/>
              </p:ext>
            </p:extLst>
          </p:nvPr>
        </p:nvGraphicFramePr>
        <p:xfrm>
          <a:off x="1524000" y="2019300"/>
          <a:ext cx="7353300" cy="374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35" name="Gráfico" r:id="rId17" imgW="7353300" imgH="3743325" progId="MSGraph.Chart.8">
                  <p:embed followColorScheme="full"/>
                </p:oleObj>
              </mc:Choice>
              <mc:Fallback>
                <p:oleObj name="Gráfico" r:id="rId17" imgW="7353300" imgH="37433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24000" y="2019300"/>
                        <a:ext cx="7353300" cy="37433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5" name="Conector reto 34"/>
          <p:cNvCxnSpPr/>
          <p:nvPr>
            <p:custDataLst>
              <p:tags r:id="rId8"/>
            </p:custDataLst>
          </p:nvPr>
        </p:nvCxnSpPr>
        <p:spPr bwMode="auto">
          <a:xfrm>
            <a:off x="6096000" y="2774950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/>
          <p:cNvCxnSpPr/>
          <p:nvPr>
            <p:custDataLst>
              <p:tags r:id="rId9"/>
            </p:custDataLst>
          </p:nvPr>
        </p:nvCxnSpPr>
        <p:spPr bwMode="auto">
          <a:xfrm>
            <a:off x="4310063" y="390842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Espaço Reservado para Texto 4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400925" y="6064250"/>
            <a:ext cx="9525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AEB9C32-2D83-46D0-BD29-D40E1EFCC7E5}" type="datetime'''''''''''''''''T''''o''''''''''''t''''''''''''''al'''''">
              <a:rPr lang="en-US" sz="3500">
                <a:latin typeface="Arial"/>
                <a:sym typeface="Arial"/>
              </a:rPr>
              <a:pPr marL="0" indent="0" algn="ctr">
                <a:spcBef>
                  <a:spcPct val="0"/>
                </a:spcBef>
                <a:buNone/>
              </a:pPr>
              <a:t>Total</a:t>
            </a:fld>
            <a:endParaRPr lang="pt-BR" sz="3500" dirty="0">
              <a:latin typeface="Arial"/>
              <a:sym typeface="Arial"/>
            </a:endParaRPr>
          </a:p>
        </p:txBody>
      </p:sp>
      <p:sp>
        <p:nvSpPr>
          <p:cNvPr id="20" name="Espaço Reservado para Texto 3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625850" y="6064250"/>
            <a:ext cx="1370013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45EBA6F2-DDA6-481B-9017-F6F7DF0F9F4C}" type="datetime'''M''C''''M''''''V'''''''''''''''">
              <a:rPr lang="en-US" sz="3500"/>
              <a:pPr/>
              <a:t>MCMV</a:t>
            </a:fld>
            <a:endParaRPr lang="pt-BR" sz="3500" dirty="0">
              <a:sym typeface="+mn-lt"/>
            </a:endParaRPr>
          </a:p>
        </p:txBody>
      </p:sp>
      <p:sp>
        <p:nvSpPr>
          <p:cNvPr id="19" name="Espaço Reservado para Texto 3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011363" y="6064250"/>
            <a:ext cx="102552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1793BB6-9AB9-4C8E-91DF-FB7B53357F99}" type="datetime'''O''''''''''''''G''''''U'''''''''''''''">
              <a:rPr lang="en-US" sz="3500"/>
              <a:pPr/>
              <a:t>OGU</a:t>
            </a:fld>
            <a:endParaRPr lang="pt-BR" sz="3500" dirty="0">
              <a:sym typeface="+mn-lt"/>
            </a:endParaRPr>
          </a:p>
        </p:txBody>
      </p:sp>
      <p:sp>
        <p:nvSpPr>
          <p:cNvPr id="21" name="Espaço Reservado para Texto 3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459413" y="6064250"/>
            <a:ext cx="127317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EFAD29E3-2915-4121-8F36-CBCCCAC0387D}" type="datetime'''''P''''''''''''M''''''''S''''''''P'">
              <a:rPr lang="en-US" sz="3500"/>
              <a:pPr/>
              <a:t>PMSP</a:t>
            </a:fld>
            <a:endParaRPr lang="pt-BR" sz="3500" dirty="0">
              <a:sym typeface="+mn-lt"/>
            </a:endParaRPr>
          </a:p>
        </p:txBody>
      </p:sp>
      <p:sp>
        <p:nvSpPr>
          <p:cNvPr id="39" name="Rectangle 3"/>
          <p:cNvSpPr txBox="1">
            <a:spLocks noChangeArrowheads="1"/>
          </p:cNvSpPr>
          <p:nvPr/>
        </p:nvSpPr>
        <p:spPr bwMode="auto">
          <a:xfrm>
            <a:off x="1226479" y="1351310"/>
            <a:ext cx="4374221" cy="1134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t-BR" altLang="pt-BR" sz="2400" kern="0" dirty="0" smtClean="0"/>
              <a:t>Investimentos em Drenagem por fonte de recurso (R$ bi)</a:t>
            </a:r>
            <a:endParaRPr lang="pt-BR" altLang="pt-BR" sz="2400" kern="0" dirty="0"/>
          </a:p>
        </p:txBody>
      </p:sp>
    </p:spTree>
    <p:extLst>
      <p:ext uri="{BB962C8B-B14F-4D97-AF65-F5344CB8AC3E}">
        <p14:creationId xmlns:p14="http://schemas.microsoft.com/office/powerpoint/2010/main" val="1223261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3698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5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060" name="Picture 28" descr="C:\Users\x050317\AppData\Local\Microsoft\Windows\Temporary Internet Files\Content.Outlook\FC27SWDW\SumareAguaPreta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7" t="2003" r="1601" b="3154"/>
          <a:stretch/>
        </p:blipFill>
        <p:spPr bwMode="auto">
          <a:xfrm>
            <a:off x="1710955" y="1500266"/>
            <a:ext cx="7286685" cy="5061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de cantos arredondados 9"/>
          <p:cNvSpPr/>
          <p:nvPr/>
        </p:nvSpPr>
        <p:spPr>
          <a:xfrm>
            <a:off x="2657061" y="4776629"/>
            <a:ext cx="4317628" cy="1481205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85725" algn="ctr">
              <a:spcBef>
                <a:spcPts val="0"/>
              </a:spcBef>
            </a:pPr>
            <a:r>
              <a:rPr kumimoji="1" lang="pt-BR" i="1" dirty="0" smtClean="0">
                <a:solidFill>
                  <a:schemeClr val="tx1"/>
                </a:solidFill>
              </a:rPr>
              <a:t>Principais locais de redução de alagamentos com funcionalidade da obra: </a:t>
            </a:r>
            <a:r>
              <a:rPr kumimoji="1" lang="pt-BR" b="1" i="1" dirty="0" smtClean="0">
                <a:solidFill>
                  <a:schemeClr val="tx1"/>
                </a:solidFill>
              </a:rPr>
              <a:t>Rua </a:t>
            </a:r>
            <a:r>
              <a:rPr kumimoji="1" lang="pt-BR" b="1" i="1" dirty="0" err="1" smtClean="0">
                <a:solidFill>
                  <a:schemeClr val="tx1"/>
                </a:solidFill>
              </a:rPr>
              <a:t>Turiassú</a:t>
            </a:r>
            <a:r>
              <a:rPr kumimoji="1" lang="pt-BR" b="1" i="1" dirty="0" smtClean="0">
                <a:solidFill>
                  <a:schemeClr val="tx1"/>
                </a:solidFill>
              </a:rPr>
              <a:t>, Pça. Marrey Júnio</a:t>
            </a:r>
            <a:r>
              <a:rPr kumimoji="1" lang="pt-BR" b="1" i="1" dirty="0" smtClean="0"/>
              <a:t>r, Sesc Pompeia, Shop. Bourbon e Av. </a:t>
            </a:r>
            <a:r>
              <a:rPr kumimoji="1" lang="pt-BR" b="1" i="1" dirty="0" err="1" smtClean="0"/>
              <a:t>Fco</a:t>
            </a:r>
            <a:r>
              <a:rPr kumimoji="1" lang="pt-BR" b="1" i="1" dirty="0" smtClean="0"/>
              <a:t>. Matarazzo</a:t>
            </a:r>
            <a:endParaRPr kumimoji="1" lang="pt-BR" b="1" i="1" dirty="0">
              <a:solidFill>
                <a:schemeClr val="tx1"/>
              </a:solidFill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 flipV="1">
            <a:off x="6084168" y="3356993"/>
            <a:ext cx="576064" cy="704712"/>
          </a:xfrm>
          <a:prstGeom prst="straightConnector1">
            <a:avLst/>
          </a:prstGeom>
          <a:ln w="19050"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ângulo de cantos arredondados 14"/>
          <p:cNvSpPr/>
          <p:nvPr/>
        </p:nvSpPr>
        <p:spPr>
          <a:xfrm>
            <a:off x="6240716" y="3156285"/>
            <a:ext cx="1513302" cy="851004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tx2"/>
            </a:solidFill>
          </a:ln>
        </p:spPr>
        <p:txBody>
          <a:bodyPr wrap="square" lIns="0" tIns="0" rIns="0" bIns="0" anchor="ctr">
            <a:noAutofit/>
          </a:bodyPr>
          <a:lstStyle/>
          <a:p>
            <a:pPr marL="85725" algn="ctr">
              <a:spcBef>
                <a:spcPts val="0"/>
              </a:spcBef>
            </a:pPr>
            <a:r>
              <a:rPr kumimoji="1" lang="pt-BR" sz="1600" i="1" dirty="0" smtClean="0">
                <a:solidFill>
                  <a:schemeClr val="tx1"/>
                </a:solidFill>
              </a:rPr>
              <a:t>Mancha azul – redução do alagamento</a:t>
            </a:r>
            <a:endParaRPr kumimoji="1" lang="pt-BR" sz="1600" i="1" dirty="0">
              <a:solidFill>
                <a:schemeClr val="tx1"/>
              </a:solidFill>
            </a:endParaRP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835694" y="1628798"/>
            <a:ext cx="4032450" cy="10954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180975" indent="-180975"/>
            <a:r>
              <a:rPr lang="pt-BR" altLang="pt-BR" sz="1800" kern="0" dirty="0" smtClean="0"/>
              <a:t>R$ 161 Mi (Operação Urbana)</a:t>
            </a:r>
          </a:p>
          <a:p>
            <a:pPr marL="180975" indent="-180975"/>
            <a:r>
              <a:rPr lang="pt-BR" altLang="pt-BR" sz="1800" kern="0" dirty="0" smtClean="0"/>
              <a:t>Funcionalidade em Dez/15 (ramo Água Preta)</a:t>
            </a:r>
            <a:endParaRPr lang="pt-BR" altLang="pt-BR" sz="1800" strike="sngStrike" kern="0" dirty="0" smtClean="0"/>
          </a:p>
          <a:p>
            <a:pPr marL="180975" indent="-180975"/>
            <a:endParaRPr lang="pt-BR" altLang="pt-BR" sz="1800" kern="0" dirty="0"/>
          </a:p>
        </p:txBody>
      </p:sp>
      <p:sp>
        <p:nvSpPr>
          <p:cNvPr id="11" name="Retângulo 10"/>
          <p:cNvSpPr/>
          <p:nvPr/>
        </p:nvSpPr>
        <p:spPr>
          <a:xfrm rot="20099119">
            <a:off x="1325062" y="2985461"/>
            <a:ext cx="2493536" cy="576064"/>
          </a:xfrm>
          <a:prstGeom prst="rect">
            <a:avLst/>
          </a:prstGeom>
          <a:solidFill>
            <a:srgbClr val="FFB7B7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R$ 90 Mi executados em 2015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3447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40616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7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4624" name="Picture 11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845" t="23498" r="18084" b="18033"/>
          <a:stretch/>
        </p:blipFill>
        <p:spPr bwMode="auto">
          <a:xfrm>
            <a:off x="1547664" y="2204864"/>
            <a:ext cx="7297926" cy="3746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556792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Desemboque e </a:t>
            </a:r>
            <a:r>
              <a:rPr lang="pt-BR" altLang="pt-BR" sz="2400" b="1" i="1" kern="0" dirty="0" err="1" smtClean="0"/>
              <a:t>Ensecadeira</a:t>
            </a:r>
            <a:endParaRPr lang="pt-BR" altLang="pt-BR" sz="2400" i="1" kern="0" dirty="0" smtClean="0"/>
          </a:p>
        </p:txBody>
      </p:sp>
      <p:sp>
        <p:nvSpPr>
          <p:cNvPr id="4" name="Retângulo 3"/>
          <p:cNvSpPr/>
          <p:nvPr/>
        </p:nvSpPr>
        <p:spPr>
          <a:xfrm>
            <a:off x="6732240" y="2204864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/>
          <p:cNvSpPr txBox="1"/>
          <p:nvPr/>
        </p:nvSpPr>
        <p:spPr>
          <a:xfrm rot="969825">
            <a:off x="6708203" y="2543716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CONCRETAGENS CONCLUÍDAS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6076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71555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491158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Túneis sob a Marginal Tietê</a:t>
            </a:r>
            <a:endParaRPr lang="pt-BR" altLang="pt-BR" sz="2400" i="1" kern="0" dirty="0" smtClean="0"/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83" t="15142" r="17802" b="25026"/>
          <a:stretch/>
        </p:blipFill>
        <p:spPr bwMode="auto">
          <a:xfrm>
            <a:off x="1535789" y="2375553"/>
            <a:ext cx="7309800" cy="37897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32240" y="2120223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708203" y="2459075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ESCAVAÇÃO CONCLUÍDA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22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31534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448401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Galeria VCA Marginal à CET – Água Preta</a:t>
            </a:r>
            <a:endParaRPr lang="pt-BR" altLang="pt-BR" sz="2400" i="1" kern="0" dirty="0" smtClean="0"/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80" t="19922" r="17863" b="22543"/>
          <a:stretch/>
        </p:blipFill>
        <p:spPr bwMode="auto">
          <a:xfrm>
            <a:off x="1536858" y="2318756"/>
            <a:ext cx="7320538" cy="363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32240" y="2060848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708203" y="2399700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GALERIA CONCLUÍDA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75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358210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520409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Túnel sob a Av. </a:t>
            </a:r>
            <a:r>
              <a:rPr lang="pt-BR" altLang="pt-BR" sz="2400" b="1" i="1" kern="0" dirty="0" err="1"/>
              <a:t>Mq</a:t>
            </a:r>
            <a:r>
              <a:rPr lang="pt-BR" altLang="pt-BR" sz="2400" b="1" i="1" kern="0" dirty="0"/>
              <a:t>. de São Vicente (Sifão)</a:t>
            </a:r>
            <a:endParaRPr lang="pt-BR" altLang="pt-BR" sz="2400" i="1" kern="0" dirty="0" smtClean="0"/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0" t="21797" r="17969" b="21617"/>
          <a:stretch/>
        </p:blipFill>
        <p:spPr bwMode="auto">
          <a:xfrm>
            <a:off x="1538057" y="2348880"/>
            <a:ext cx="7307532" cy="3610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32240" y="2144731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708203" y="2483583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ESCAVAÇÃO CONCLUÍDA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11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72419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491158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Galeria VCA Tecnisa – Água Preta</a:t>
            </a:r>
            <a:endParaRPr lang="pt-BR" altLang="pt-BR" sz="2400" i="1" kern="0" dirty="0" smtClean="0"/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0" t="17553" r="17824" b="22879"/>
          <a:stretch/>
        </p:blipFill>
        <p:spPr bwMode="auto">
          <a:xfrm>
            <a:off x="1403648" y="2318756"/>
            <a:ext cx="7462590" cy="3846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696615" y="2132856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672578" y="2471708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GALERIA CONCLUÍDA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185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76271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556792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Túnel sob a CPTM – Água Preta</a:t>
            </a:r>
            <a:endParaRPr lang="pt-BR" altLang="pt-BR" sz="2400" i="1" kern="0" dirty="0" smtClean="0"/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61" t="21268" r="18338" b="22145"/>
          <a:stretch/>
        </p:blipFill>
        <p:spPr bwMode="auto">
          <a:xfrm>
            <a:off x="1547664" y="2393412"/>
            <a:ext cx="7239186" cy="3555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32240" y="2348880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708203" y="2687732"/>
            <a:ext cx="2124615" cy="646331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ESCAVAÇÃO CONCLUÍDA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9742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1730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484784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/>
              <a:t>Remanejamento Coletor – Água Preta</a:t>
            </a:r>
            <a:endParaRPr lang="pt-BR" altLang="pt-BR" sz="2400" i="1" kern="0" dirty="0" smtClean="0"/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31" t="20571" r="18762" b="20612"/>
          <a:stretch/>
        </p:blipFill>
        <p:spPr bwMode="auto">
          <a:xfrm>
            <a:off x="1522189" y="2203894"/>
            <a:ext cx="7323399" cy="3761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732240" y="1988840"/>
            <a:ext cx="2016224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708203" y="2466191"/>
            <a:ext cx="2124615" cy="369332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50% EXECUTADO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836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8631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maré / Água Preta – 83% de execução 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3"/>
          <p:cNvSpPr txBox="1">
            <a:spLocks noChangeArrowheads="1"/>
          </p:cNvSpPr>
          <p:nvPr/>
        </p:nvSpPr>
        <p:spPr bwMode="auto">
          <a:xfrm>
            <a:off x="1547664" y="1556792"/>
            <a:ext cx="7297925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es-ES" altLang="pt-BR" sz="2400" b="1" i="1" kern="0" dirty="0"/>
              <a:t>Túnel Padre </a:t>
            </a:r>
            <a:r>
              <a:rPr lang="es-ES" altLang="pt-BR" sz="2400" b="1" i="1" kern="0" dirty="0" err="1"/>
              <a:t>Antônio</a:t>
            </a:r>
            <a:r>
              <a:rPr lang="es-ES" altLang="pt-BR" sz="2400" b="1" i="1" kern="0" dirty="0"/>
              <a:t> Tomás - Sumaré</a:t>
            </a:r>
            <a:endParaRPr lang="pt-BR" altLang="pt-BR" sz="2400" i="1" kern="0" dirty="0" smtClean="0"/>
          </a:p>
        </p:txBody>
      </p:sp>
      <p:pic>
        <p:nvPicPr>
          <p:cNvPr id="9011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922" t="21645" r="18552" b="22580"/>
          <a:stretch/>
        </p:blipFill>
        <p:spPr bwMode="auto">
          <a:xfrm>
            <a:off x="1475656" y="2324238"/>
            <a:ext cx="7299659" cy="39130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402357" y="2420888"/>
            <a:ext cx="2344437" cy="129614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8" name="CaixaDeTexto 7"/>
          <p:cNvSpPr txBox="1"/>
          <p:nvPr/>
        </p:nvSpPr>
        <p:spPr>
          <a:xfrm rot="969825">
            <a:off x="6542426" y="2898239"/>
            <a:ext cx="2124615" cy="369332"/>
          </a:xfrm>
          <a:prstGeom prst="rect">
            <a:avLst/>
          </a:prstGeom>
          <a:noFill/>
          <a:ln w="28575">
            <a:solidFill>
              <a:schemeClr val="tx1"/>
            </a:solidFill>
            <a:prstDash val="dash"/>
          </a:ln>
        </p:spPr>
        <p:txBody>
          <a:bodyPr wrap="square" rtlCol="0" anchor="ctr">
            <a:spAutoFit/>
          </a:bodyPr>
          <a:lstStyle/>
          <a:p>
            <a:pPr algn="ctr"/>
            <a:r>
              <a:rPr lang="pt-BR" b="1" dirty="0" smtClean="0">
                <a:solidFill>
                  <a:srgbClr val="007033"/>
                </a:solidFill>
              </a:rPr>
              <a:t>90% EXECUTADO</a:t>
            </a:r>
            <a:endParaRPr lang="pt-BR" b="1" dirty="0">
              <a:solidFill>
                <a:srgbClr val="0070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139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58533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3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275856" y="1446620"/>
            <a:ext cx="5759624" cy="4962003"/>
          </a:xfrm>
        </p:spPr>
        <p:txBody>
          <a:bodyPr/>
          <a:lstStyle/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b="1" dirty="0" smtClean="0"/>
              <a:t>48 obras concluídas </a:t>
            </a:r>
            <a:r>
              <a:rPr lang="pt-BR" altLang="pt-BR" sz="2800" dirty="0" smtClean="0"/>
              <a:t>– R$ 96 Mi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b="1" dirty="0" smtClean="0"/>
              <a:t>3 obras em andamento e 13 obras contratadas</a:t>
            </a:r>
            <a:r>
              <a:rPr lang="pt-BR" altLang="pt-BR" sz="2800" dirty="0" smtClean="0"/>
              <a:t> (7 a iniciar em breve)  – R$ 22 Mi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endParaRPr lang="pt-BR" altLang="pt-BR" sz="2800" b="1" dirty="0">
              <a:solidFill>
                <a:srgbClr val="FF0000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endParaRPr lang="pt-BR" altLang="pt-BR" sz="2800" b="1" dirty="0" smtClean="0">
              <a:solidFill>
                <a:srgbClr val="FF0000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endParaRPr lang="pt-BR" altLang="pt-BR" sz="2800" b="1" dirty="0">
              <a:solidFill>
                <a:srgbClr val="FF0000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endParaRPr lang="pt-BR" altLang="pt-BR" sz="2800" b="1" dirty="0" smtClean="0">
              <a:solidFill>
                <a:srgbClr val="FF0000"/>
              </a:solidFill>
            </a:endParaRP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b="1" dirty="0" smtClean="0"/>
              <a:t>12 obras contratadas no dia 9/Out </a:t>
            </a:r>
            <a:r>
              <a:rPr lang="pt-BR" altLang="pt-BR" sz="2800" dirty="0" smtClean="0"/>
              <a:t>– R$ 19 Mi (previsão de início de obras no 1º sem./16)</a:t>
            </a: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1763688" y="1446621"/>
            <a:ext cx="1349591" cy="280091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4000"/>
              </a:spcAft>
              <a:buNone/>
            </a:pPr>
            <a:r>
              <a:rPr lang="pt-BR" altLang="pt-BR" b="1" kern="0" dirty="0" smtClean="0"/>
              <a:t>Verão 2014/15</a:t>
            </a:r>
          </a:p>
          <a:p>
            <a:pPr marL="0" indent="0" algn="ctr">
              <a:spcBef>
                <a:spcPts val="0"/>
              </a:spcBef>
              <a:spcAft>
                <a:spcPts val="4000"/>
              </a:spcAft>
              <a:buNone/>
            </a:pPr>
            <a:r>
              <a:rPr lang="pt-BR" altLang="pt-BR" b="1" kern="0" dirty="0" smtClean="0"/>
              <a:t>PRA1</a:t>
            </a:r>
            <a:endParaRPr lang="pt-BR" altLang="pt-BR" b="1" kern="0" dirty="0"/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1763688" y="4365104"/>
            <a:ext cx="1349591" cy="247046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4000"/>
              </a:spcAft>
              <a:buNone/>
            </a:pPr>
            <a:r>
              <a:rPr lang="pt-BR" altLang="pt-BR" b="1" kern="0" dirty="0" smtClean="0"/>
              <a:t>Verão 2015/16</a:t>
            </a:r>
          </a:p>
          <a:p>
            <a:pPr marL="0" indent="0" algn="ctr">
              <a:spcBef>
                <a:spcPts val="0"/>
              </a:spcBef>
              <a:spcAft>
                <a:spcPts val="4000"/>
              </a:spcAft>
              <a:buNone/>
            </a:pPr>
            <a:r>
              <a:rPr lang="pt-BR" altLang="pt-BR" b="1" kern="0" dirty="0" smtClean="0"/>
              <a:t>PRA2</a:t>
            </a:r>
            <a:endParaRPr lang="pt-BR" altLang="pt-BR" b="1" kern="0" dirty="0"/>
          </a:p>
        </p:txBody>
      </p:sp>
      <p:cxnSp>
        <p:nvCxnSpPr>
          <p:cNvPr id="6" name="Conector reto 5"/>
          <p:cNvCxnSpPr/>
          <p:nvPr/>
        </p:nvCxnSpPr>
        <p:spPr>
          <a:xfrm flipH="1">
            <a:off x="2555775" y="4312852"/>
            <a:ext cx="6408713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ângulo 9"/>
          <p:cNvSpPr/>
          <p:nvPr/>
        </p:nvSpPr>
        <p:spPr>
          <a:xfrm rot="21233711">
            <a:off x="4823650" y="3415942"/>
            <a:ext cx="2493536" cy="576064"/>
          </a:xfrm>
          <a:prstGeom prst="rect">
            <a:avLst/>
          </a:prstGeom>
          <a:solidFill>
            <a:srgbClr val="FFB7B7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R$ 9 Mi executados em 2015</a:t>
            </a:r>
            <a:endParaRPr lang="pt-BR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500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04521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92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3500">
              <a:sym typeface="+mn-lt"/>
            </a:endParaRPr>
          </a:p>
        </p:txBody>
      </p:sp>
      <p:pic>
        <p:nvPicPr>
          <p:cNvPr id="77852" name="Picture 28" descr="C:\Users\x050317\Downloads\MACRODRENAGEM_20151202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6" t="3518" r="2468" b="3610"/>
          <a:stretch/>
        </p:blipFill>
        <p:spPr bwMode="auto">
          <a:xfrm>
            <a:off x="1644662" y="1434001"/>
            <a:ext cx="7391834" cy="5184576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8388424" cy="1143000"/>
          </a:xfrm>
        </p:spPr>
        <p:txBody>
          <a:bodyPr anchor="b"/>
          <a:lstStyle/>
          <a:p>
            <a:pPr algn="l"/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3 obras de macrodrenagem distribuídas por toda cidade</a:t>
            </a:r>
            <a:endParaRPr lang="pt-BR" altLang="pt-BR" sz="3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3"/>
          <p:cNvSpPr/>
          <p:nvPr/>
        </p:nvSpPr>
        <p:spPr>
          <a:xfrm>
            <a:off x="6850410" y="1467662"/>
            <a:ext cx="2114078" cy="109724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93307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4143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14" name="Slide do think-cell" r:id="rId5" imgW="270" imgH="270" progId="TCLayout.ActiveDocument.1">
                  <p:embed/>
                </p:oleObj>
              </mc:Choice>
              <mc:Fallback>
                <p:oleObj name="Slide do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3500">
              <a:sym typeface="+mn-lt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8892480" cy="1143000"/>
          </a:xfrm>
        </p:spPr>
        <p:txBody>
          <a:bodyPr anchor="b"/>
          <a:lstStyle/>
          <a:p>
            <a:pPr algn="l"/>
            <a:r>
              <a:rPr lang="pt-BR" altLang="pt-BR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 48 obras concluídas do PRA estão distribuídas por toda a cidade</a:t>
            </a:r>
            <a:endParaRPr lang="pt-BR" altLang="pt-BR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856" name="Picture 8" descr="C:\Users\x050317\Downloads\PRA_20151201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7" t="2599" r="2857" b="3426"/>
          <a:stretch/>
        </p:blipFill>
        <p:spPr bwMode="auto">
          <a:xfrm>
            <a:off x="1691680" y="1484784"/>
            <a:ext cx="7200800" cy="5040560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9364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7352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74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601" name="Picture 17" descr="C:\Users\x050317\AppData\Local\Temp\Rar$DIa0.360\Nov _ 2014 Borges Figueiredo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73"/>
          <a:stretch/>
        </p:blipFill>
        <p:spPr bwMode="auto">
          <a:xfrm>
            <a:off x="1536169" y="2348879"/>
            <a:ext cx="3717057" cy="4050451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</a:t>
            </a:r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a Visconde de </a:t>
            </a:r>
            <a:r>
              <a:rPr lang="pt-BR" altLang="pt-BR" sz="32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iru</a:t>
            </a:r>
            <a:r>
              <a:rPr lang="pt-BR" altLang="pt-BR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(Mooca)</a:t>
            </a:r>
            <a:endParaRPr lang="pt-BR" altLang="pt-BR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665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Final de 2014</a:t>
            </a:r>
            <a:endParaRPr lang="pt-BR" altLang="pt-BR" sz="2400" i="1" kern="0" dirty="0" smtClean="0"/>
          </a:p>
        </p:txBody>
      </p:sp>
      <p:pic>
        <p:nvPicPr>
          <p:cNvPr id="67602" name="Picture 18" descr="C:\Users\x050317\AppData\Local\Temp\Rar$DIa0.512\SAM_2851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97" r="28053"/>
          <a:stretch/>
        </p:blipFill>
        <p:spPr bwMode="auto">
          <a:xfrm>
            <a:off x="5311737" y="2348878"/>
            <a:ext cx="3685904" cy="4050452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292080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999914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8884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84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2706" name="Picture 2" descr="C:\Users\x050317\AppData\Local\Temp\Rar$DIa0.091\nov_2014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12" r="22830"/>
          <a:stretch/>
        </p:blipFill>
        <p:spPr bwMode="auto">
          <a:xfrm>
            <a:off x="1547666" y="2333764"/>
            <a:ext cx="3705559" cy="4065566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2707" name="Picture 3" descr="C:\Users\x050317\AppData\Local\Temp\Rar$DIa0.583\Abril _ 2015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73" r="31750"/>
          <a:stretch/>
        </p:blipFill>
        <p:spPr bwMode="auto">
          <a:xfrm>
            <a:off x="5311737" y="2333765"/>
            <a:ext cx="3685903" cy="4065566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</a:t>
            </a:r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a Santa </a:t>
            </a:r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uz (Ipiranga)</a:t>
            </a:r>
            <a:endParaRPr lang="pt-BR" altLang="pt-BR" sz="3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665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Final de 2014</a:t>
            </a:r>
            <a:endParaRPr lang="pt-BR" altLang="pt-BR" sz="2400" i="1" kern="0" dirty="0" smtClean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292080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814026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5477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7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3732" name="Picture 4" descr="C:\Users\x050317\AppData\Local\Temp\Rar$DIa0.415\MINISTRO A LIMA - ABRIL 2015.jpg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2" r="18377"/>
          <a:stretch/>
        </p:blipFill>
        <p:spPr bwMode="auto">
          <a:xfrm>
            <a:off x="5319399" y="2333765"/>
            <a:ext cx="3678241" cy="4065566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731" name="Picture 3" descr="C:\Users\x050317\AppData\Local\Temp\Rar$DIa0.440\MINISTRO A LIMA - NOVEMBRO 2014.jp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48" r="39878"/>
          <a:stretch/>
        </p:blipFill>
        <p:spPr bwMode="auto">
          <a:xfrm>
            <a:off x="1547666" y="2333765"/>
            <a:ext cx="3705559" cy="4065566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812360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A</a:t>
            </a:r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2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ua Min. </a:t>
            </a:r>
            <a:r>
              <a:rPr lang="pt-BR" altLang="pt-BR" sz="2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Álvaro </a:t>
            </a:r>
            <a:r>
              <a:rPr lang="pt-BR" altLang="pt-BR" sz="2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. </a:t>
            </a:r>
            <a:r>
              <a:rPr lang="pt-BR" altLang="pt-BR" sz="2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ma (Santo Amaro)</a:t>
            </a:r>
            <a:endParaRPr lang="pt-BR" altLang="pt-BR" sz="2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1547665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Final de 2014</a:t>
            </a:r>
            <a:endParaRPr lang="pt-BR" altLang="pt-BR" sz="2400" i="1" kern="0" dirty="0" smtClean="0"/>
          </a:p>
        </p:txBody>
      </p:sp>
      <p:sp>
        <p:nvSpPr>
          <p:cNvPr id="12" name="Rectangle 3"/>
          <p:cNvSpPr txBox="1">
            <a:spLocks noChangeArrowheads="1"/>
          </p:cNvSpPr>
          <p:nvPr/>
        </p:nvSpPr>
        <p:spPr bwMode="auto">
          <a:xfrm>
            <a:off x="5292080" y="1484943"/>
            <a:ext cx="3705560" cy="61794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400" b="1" i="1" kern="0" dirty="0" smtClean="0"/>
              <a:t>2015</a:t>
            </a:r>
          </a:p>
        </p:txBody>
      </p:sp>
    </p:spTree>
    <p:extLst>
      <p:ext uri="{BB962C8B-B14F-4D97-AF65-F5344CB8AC3E}">
        <p14:creationId xmlns:p14="http://schemas.microsoft.com/office/powerpoint/2010/main" val="3201775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84751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707796" y="188640"/>
            <a:ext cx="7436204" cy="1143000"/>
          </a:xfrm>
        </p:spPr>
        <p:txBody>
          <a:bodyPr anchor="b"/>
          <a:lstStyle/>
          <a:p>
            <a:pPr algn="l"/>
            <a:r>
              <a:rPr lang="pt-BR" altLang="pt-BR" sz="28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7</a:t>
            </a:r>
            <a:r>
              <a:rPr lang="pt-BR" altLang="pt-BR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grandes obras de drenagem contratadas, totalizando R$ </a:t>
            </a:r>
            <a:r>
              <a:rPr lang="pt-BR" altLang="pt-BR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,7 </a:t>
            </a:r>
            <a:r>
              <a:rPr lang="pt-BR" altLang="pt-BR" sz="28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, e outros 3 editais publicados</a:t>
            </a:r>
            <a:endParaRPr lang="pt-BR" altLang="pt-BR" sz="28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Tabela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53278941"/>
              </p:ext>
            </p:extLst>
          </p:nvPr>
        </p:nvGraphicFramePr>
        <p:xfrm>
          <a:off x="1361295" y="1556792"/>
          <a:ext cx="7636344" cy="5077980"/>
        </p:xfrm>
        <a:graphic>
          <a:graphicData uri="http://schemas.openxmlformats.org/drawingml/2006/table">
            <a:tbl>
              <a:tblPr/>
              <a:tblGrid>
                <a:gridCol w="1864963"/>
                <a:gridCol w="1221227"/>
                <a:gridCol w="1996723"/>
                <a:gridCol w="1296144"/>
                <a:gridCol w="1257287"/>
              </a:tblGrid>
              <a:tr h="86315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mpreen-dimento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or da Obra (R$ Mi)*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ata da ordem de início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naliza-ção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m)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serva-ção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  <a:p>
                      <a:pPr algn="ct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x 10³ m³)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avuvus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46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BRAS</a:t>
                      </a:r>
                      <a:r>
                        <a:rPr lang="pt-BR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NICIANDO (Dez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FFB7B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0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4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ricanduva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66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rtl="0" fontAlgn="ctr"/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5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25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piranga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r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pt-BR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.6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1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remembé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r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pt-BR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0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1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raguai / É.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t 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pt-BR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ciência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8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ut 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(</a:t>
                      </a:r>
                      <a:r>
                        <a:rPr lang="pt-BR" sz="18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oj</a:t>
                      </a:r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)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.0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</a:tr>
              <a:tr h="549391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“S” 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–</a:t>
                      </a:r>
                      <a:r>
                        <a:rPr lang="pt-BR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rlos Caldeira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/>
                        </a:rPr>
                        <a:t>24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inalizando</a:t>
                      </a:r>
                      <a:r>
                        <a:rPr lang="pt-BR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contratação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60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549391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b. Perus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9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ertura de propostas 10/Dez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.600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01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</a:tr>
              <a:tr h="640241"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“S”</a:t>
                      </a:r>
                      <a:r>
                        <a:rPr lang="pt-BR" sz="18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- Freitas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0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dital em 18/Jul. Será republicado</a:t>
                      </a:r>
                      <a:r>
                        <a:rPr lang="pt-BR" sz="14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m breve</a:t>
                      </a:r>
                      <a:endParaRPr lang="pt-BR" sz="14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6.10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4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</a:tr>
              <a:tr h="429956">
                <a:tc>
                  <a:txBody>
                    <a:bodyPr/>
                    <a:lstStyle/>
                    <a:p>
                      <a:pPr algn="r" fontAlgn="b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Cordeiro F2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9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bertura de propostas 23/Dez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.00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2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FFF1C5"/>
                    </a:solidFill>
                  </a:tcPr>
                </a:tc>
              </a:tr>
              <a:tr h="290692"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5462" marR="5462" marT="546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206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-</a:t>
                      </a: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7.100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.505</a:t>
                      </a:r>
                      <a:endParaRPr lang="pt-BR" sz="1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5462" marR="5462" marT="5462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  <p:sp>
        <p:nvSpPr>
          <p:cNvPr id="6" name="Chave esquerda 5"/>
          <p:cNvSpPr/>
          <p:nvPr/>
        </p:nvSpPr>
        <p:spPr>
          <a:xfrm>
            <a:off x="1259632" y="2469145"/>
            <a:ext cx="434150" cy="2284895"/>
          </a:xfrm>
          <a:prstGeom prst="leftBrace">
            <a:avLst/>
          </a:prstGeom>
          <a:ln w="38100">
            <a:solidFill>
              <a:srgbClr val="A88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CaixaDeTexto 9"/>
          <p:cNvSpPr txBox="1"/>
          <p:nvPr/>
        </p:nvSpPr>
        <p:spPr>
          <a:xfrm rot="16200000">
            <a:off x="158806" y="3426926"/>
            <a:ext cx="180020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b="1" dirty="0" smtClean="0">
                <a:solidFill>
                  <a:srgbClr val="A88000"/>
                </a:solidFill>
              </a:rPr>
              <a:t>Contratados</a:t>
            </a:r>
            <a:endParaRPr lang="pt-BR" b="1" dirty="0">
              <a:solidFill>
                <a:srgbClr val="A88000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1707796" y="6623774"/>
            <a:ext cx="607900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ctr"/>
            <a:r>
              <a:rPr lang="pt-BR" sz="1050" dirty="0" smtClean="0"/>
              <a:t>* Sem desapropriações </a:t>
            </a:r>
            <a:r>
              <a:rPr lang="pt-BR" sz="1050" dirty="0"/>
              <a:t>e sem </a:t>
            </a:r>
            <a:r>
              <a:rPr lang="pt-BR" sz="1050" dirty="0" smtClean="0"/>
              <a:t>MCMV</a:t>
            </a:r>
            <a:endParaRPr lang="pt-BR" sz="1050" dirty="0" smtClean="0"/>
          </a:p>
        </p:txBody>
      </p:sp>
    </p:spTree>
    <p:extLst>
      <p:ext uri="{BB962C8B-B14F-4D97-AF65-F5344CB8AC3E}">
        <p14:creationId xmlns:p14="http://schemas.microsoft.com/office/powerpoint/2010/main" val="20526567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74634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m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jeto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 andamento e outros dez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citação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2236983"/>
              </p:ext>
            </p:extLst>
          </p:nvPr>
        </p:nvGraphicFramePr>
        <p:xfrm>
          <a:off x="1801138" y="1388268"/>
          <a:ext cx="7161945" cy="5440306"/>
        </p:xfrm>
        <a:graphic>
          <a:graphicData uri="http://schemas.openxmlformats.org/drawingml/2006/table">
            <a:tbl>
              <a:tblPr/>
              <a:tblGrid>
                <a:gridCol w="453527"/>
                <a:gridCol w="1662932"/>
                <a:gridCol w="1590507"/>
                <a:gridCol w="1368152"/>
                <a:gridCol w="2086827"/>
              </a:tblGrid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jeto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ubprefeitura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alor do edital (R$ Mi)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ituação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1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aim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taim Paulista</a:t>
                      </a:r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jeto contratado. OS dada em </a:t>
                      </a:r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ovembro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9486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2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hangabaú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é</a:t>
                      </a:r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,1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dital publicado em 8/Mai. Republicação em breve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3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ua Augusto Farin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utantã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4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5"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ertura das propostas comerciais em 18/dez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4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enida dos Sertanistas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ão Mateus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1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67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5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órrego Poli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nto Amaro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6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ua Antenor Baptista 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ão Miguel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67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7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Viário Paulist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é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8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órrego Água Pret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p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 rowSpan="4"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bertura das propostas comerciais em 9/dez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</a:tr>
              <a:tr h="2367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9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órrego Cintr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ap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46579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10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ua Cavaton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Freguesia do Ó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2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6720"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#11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ardim Carumbé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6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rasilândia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0,6</a:t>
                      </a:r>
                    </a:p>
                  </a:txBody>
                  <a:tcPr marL="8143" marR="8143" marT="8143" marB="0" anchor="ctr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9A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3672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143" marR="8143" marT="814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TAL</a:t>
                      </a:r>
                    </a:p>
                  </a:txBody>
                  <a:tcPr marL="8143" marR="8143" marT="8143" marB="0" anchor="b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16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143" marR="8143" marT="8143" marB="0" anchor="b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,1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143" marR="8143" marT="8143" marB="0" anchor="b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8143" marR="8143" marT="8143" marB="0" anchor="b">
                    <a:lnL w="6350" cap="flat" cmpd="sng" algn="ctr">
                      <a:solidFill>
                        <a:srgbClr val="A6A6A6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A6A6A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8965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5251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ção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Espaço Reservado para Texto 3"/>
          <p:cNvSpPr txBox="1">
            <a:spLocks/>
          </p:cNvSpPr>
          <p:nvPr/>
        </p:nvSpPr>
        <p:spPr bwMode="auto">
          <a:xfrm>
            <a:off x="1115616" y="1556792"/>
            <a:ext cx="7882024" cy="5040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/>
            <a:r>
              <a:rPr lang="pt-BR" b="1" dirty="0" smtClean="0"/>
              <a:t>Lote 1 (CONSÓRCIO DP BARROS – TIISA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Implantação do Reservatório Machados (220 mil m³ de reservação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Implantação de 4 reservatórios de pequeno porte (</a:t>
            </a:r>
            <a:r>
              <a:rPr lang="pt-BR" dirty="0" err="1" smtClean="0"/>
              <a:t>Rs</a:t>
            </a:r>
            <a:r>
              <a:rPr lang="pt-BR" dirty="0" smtClean="0"/>
              <a:t> 3, 6, 7 e 8 – 14,4 mil m³ de reservação total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Recapeamento e Prolongamento do sistema viário Villanova </a:t>
            </a:r>
            <a:r>
              <a:rPr lang="pt-BR" dirty="0" err="1" smtClean="0"/>
              <a:t>Artigas</a:t>
            </a:r>
            <a:r>
              <a:rPr lang="pt-BR" dirty="0" smtClean="0"/>
              <a:t> (4 km / pista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Alteamento das Pontes Manilha (165 m) e Itaquera (132 m)</a:t>
            </a:r>
          </a:p>
          <a:p>
            <a:pPr lvl="2">
              <a:buFont typeface="Arial" panose="020B0604020202020204" pitchFamily="34" charset="0"/>
              <a:buChar char="."/>
            </a:pPr>
            <a:endParaRPr lang="pt-BR" dirty="0" smtClean="0"/>
          </a:p>
          <a:p>
            <a:pPr lvl="2"/>
            <a:endParaRPr lang="pt-BR" dirty="0" smtClean="0"/>
          </a:p>
          <a:p>
            <a:pPr lvl="1"/>
            <a:r>
              <a:rPr lang="pt-BR" b="1" dirty="0" smtClean="0"/>
              <a:t>Lote 2 (CONSÓRCIO PAULITEC - COMPEC GALASSO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Implantação do Reservatório Taboão (120 mil m³ de reservação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Implantação dos Parques Lineares dos Reservatórios </a:t>
            </a:r>
            <a:r>
              <a:rPr lang="pt-BR" dirty="0" err="1" smtClean="0"/>
              <a:t>Caguaçu</a:t>
            </a:r>
            <a:r>
              <a:rPr lang="pt-BR" dirty="0" smtClean="0"/>
              <a:t> (113 mil m²), AR-2 (17 mil m²) e AR-3 (21 mil m²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Readequação das margens do rio Aricanduva com Parque Linear no entorno dos reservatórios (26 mil m²)</a:t>
            </a:r>
          </a:p>
          <a:p>
            <a:pPr marL="1163638" lvl="2" indent="-249238">
              <a:buFont typeface="Arial" panose="020B0604020202020204" pitchFamily="34" charset="0"/>
              <a:buChar char="."/>
            </a:pPr>
            <a:r>
              <a:rPr lang="pt-BR" dirty="0" smtClean="0"/>
              <a:t>Readequação das estruturas de </a:t>
            </a:r>
            <a:r>
              <a:rPr lang="pt-BR" dirty="0" err="1" smtClean="0"/>
              <a:t>extravasão</a:t>
            </a:r>
            <a:r>
              <a:rPr lang="pt-BR" dirty="0" smtClean="0"/>
              <a:t> dos Reservatórios AR-1, AR-2, AR-3 e </a:t>
            </a:r>
            <a:r>
              <a:rPr lang="pt-BR" dirty="0" err="1" smtClean="0"/>
              <a:t>Caguaçu</a:t>
            </a:r>
            <a:endParaRPr lang="pt-BR" dirty="0" smtClean="0"/>
          </a:p>
        </p:txBody>
      </p:sp>
    </p:spTree>
    <p:extLst>
      <p:ext uri="{BB962C8B-B14F-4D97-AF65-F5344CB8AC3E}">
        <p14:creationId xmlns:p14="http://schemas.microsoft.com/office/powerpoint/2010/main" val="35568897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10278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a Ilustrativo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7452" y="2276872"/>
            <a:ext cx="7970188" cy="242399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Conector de seta reta 5"/>
          <p:cNvCxnSpPr>
            <a:endCxn id="11" idx="0"/>
          </p:cNvCxnSpPr>
          <p:nvPr/>
        </p:nvCxnSpPr>
        <p:spPr>
          <a:xfrm>
            <a:off x="2915816" y="3284984"/>
            <a:ext cx="796337" cy="216024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de seta reta 8"/>
          <p:cNvCxnSpPr>
            <a:endCxn id="11" idx="0"/>
          </p:cNvCxnSpPr>
          <p:nvPr/>
        </p:nvCxnSpPr>
        <p:spPr>
          <a:xfrm flipH="1">
            <a:off x="3712153" y="4437112"/>
            <a:ext cx="2300007" cy="1008112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de cantos arredondados 10"/>
          <p:cNvSpPr/>
          <p:nvPr/>
        </p:nvSpPr>
        <p:spPr>
          <a:xfrm>
            <a:off x="2555776" y="5445224"/>
            <a:ext cx="2312754" cy="1080120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i="1" dirty="0" smtClean="0">
                <a:solidFill>
                  <a:schemeClr val="tx1"/>
                </a:solidFill>
              </a:rPr>
              <a:t>1ª frente de obras</a:t>
            </a:r>
            <a:endParaRPr lang="pt-BR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8132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925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73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1 – Parte 1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3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60" t="26656" r="18143" b="39417"/>
          <a:stretch/>
        </p:blipFill>
        <p:spPr bwMode="auto">
          <a:xfrm>
            <a:off x="1115531" y="2573697"/>
            <a:ext cx="7920965" cy="2286946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rgbClr val="FFC000"/>
            </a:solidFill>
          </a:ln>
        </p:spPr>
      </p:pic>
      <p:cxnSp>
        <p:nvCxnSpPr>
          <p:cNvPr id="6" name="Conector de seta reta 5"/>
          <p:cNvCxnSpPr/>
          <p:nvPr/>
        </p:nvCxnSpPr>
        <p:spPr>
          <a:xfrm flipV="1">
            <a:off x="3275856" y="2050861"/>
            <a:ext cx="0" cy="1566590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ângulo de cantos arredondados 6"/>
          <p:cNvSpPr/>
          <p:nvPr/>
        </p:nvSpPr>
        <p:spPr>
          <a:xfrm>
            <a:off x="2105934" y="1967734"/>
            <a:ext cx="2312754" cy="34855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i="1" dirty="0" smtClean="0">
                <a:solidFill>
                  <a:schemeClr val="tx1"/>
                </a:solidFill>
              </a:rPr>
              <a:t>1ª frente de obras</a:t>
            </a:r>
            <a:endParaRPr lang="pt-BR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67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925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9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1 – Parte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109" t="9315" r="27752" b="7214"/>
          <a:stretch/>
        </p:blipFill>
        <p:spPr bwMode="auto">
          <a:xfrm>
            <a:off x="3205046" y="1556792"/>
            <a:ext cx="3579440" cy="4782872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6" name="Conector de seta reta 5"/>
          <p:cNvCxnSpPr/>
          <p:nvPr/>
        </p:nvCxnSpPr>
        <p:spPr>
          <a:xfrm>
            <a:off x="5255292" y="4404923"/>
            <a:ext cx="1242360" cy="1934741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tângulo de cantos arredondados 6"/>
          <p:cNvSpPr/>
          <p:nvPr/>
        </p:nvSpPr>
        <p:spPr>
          <a:xfrm>
            <a:off x="4997359" y="5682116"/>
            <a:ext cx="2312754" cy="945579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i="1" dirty="0" smtClean="0">
                <a:solidFill>
                  <a:schemeClr val="tx1"/>
                </a:solidFill>
              </a:rPr>
              <a:t>1ª frente de obras</a:t>
            </a:r>
            <a:endParaRPr lang="pt-BR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467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1652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0" name="Slide do think-cell" r:id="rId16" imgW="270" imgH="270" progId="TCLayout.ActiveDocument.1">
                  <p:embed/>
                </p:oleObj>
              </mc:Choice>
              <mc:Fallback>
                <p:oleObj name="Slide do think-cell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endParaRPr lang="pt-BR" sz="3500" b="1">
              <a:latin typeface="Arial"/>
              <a:sym typeface="Arial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308304" cy="1143000"/>
          </a:xfrm>
        </p:spPr>
        <p:txBody>
          <a:bodyPr anchor="b"/>
          <a:lstStyle/>
          <a:p>
            <a:pPr algn="l"/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as obras de Drenagem: </a:t>
            </a:r>
            <a:b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50% mais reservação </a:t>
            </a:r>
            <a:endParaRPr lang="pt-BR" altLang="pt-BR" sz="3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>
            <p:custDataLst>
              <p:tags r:id="rId4"/>
            </p:custDataLst>
          </p:nvPr>
        </p:nvCxnSpPr>
        <p:spPr bwMode="auto">
          <a:xfrm>
            <a:off x="6029325" y="3552825"/>
            <a:ext cx="990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5"/>
            </p:custDataLst>
          </p:nvPr>
        </p:nvCxnSpPr>
        <p:spPr bwMode="auto">
          <a:xfrm>
            <a:off x="3790950" y="4257675"/>
            <a:ext cx="9906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to 9"/>
          <p:cNvGraphicFramePr>
            <a:graphicFrameLocks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95177369"/>
              </p:ext>
            </p:extLst>
          </p:nvPr>
        </p:nvGraphicFramePr>
        <p:xfrm>
          <a:off x="1943100" y="2781300"/>
          <a:ext cx="6905557" cy="29337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71" name="Gráfico" r:id="rId18" imgW="6905557" imgH="2933790" progId="MSGraph.Chart.8">
                  <p:embed followColorScheme="full"/>
                </p:oleObj>
              </mc:Choice>
              <mc:Fallback>
                <p:oleObj name="Gráfico" r:id="rId18" imgW="6905557" imgH="293379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943100" y="2781300"/>
                        <a:ext cx="6905557" cy="29337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Conector reto 38"/>
          <p:cNvCxnSpPr/>
          <p:nvPr>
            <p:custDataLst>
              <p:tags r:id="rId7"/>
            </p:custDataLst>
          </p:nvPr>
        </p:nvCxnSpPr>
        <p:spPr bwMode="auto">
          <a:xfrm flipV="1">
            <a:off x="3171825" y="2578100"/>
            <a:ext cx="0" cy="10826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reto 42"/>
          <p:cNvCxnSpPr/>
          <p:nvPr>
            <p:custDataLst>
              <p:tags r:id="rId8"/>
            </p:custDataLst>
          </p:nvPr>
        </p:nvCxnSpPr>
        <p:spPr bwMode="auto">
          <a:xfrm>
            <a:off x="7639050" y="2578100"/>
            <a:ext cx="0" cy="377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/>
          <p:cNvCxnSpPr/>
          <p:nvPr>
            <p:custDataLst>
              <p:tags r:id="rId9"/>
            </p:custDataLst>
          </p:nvPr>
        </p:nvCxnSpPr>
        <p:spPr bwMode="auto">
          <a:xfrm>
            <a:off x="3171825" y="2578100"/>
            <a:ext cx="446722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/>
          <p:cNvCxnSpPr/>
          <p:nvPr>
            <p:custDataLst>
              <p:tags r:id="rId10"/>
            </p:custDataLst>
          </p:nvPr>
        </p:nvCxnSpPr>
        <p:spPr bwMode="auto">
          <a:xfrm>
            <a:off x="5405438" y="352742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spaço Reservado para Texto 1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659063" y="6016625"/>
            <a:ext cx="1027113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8A45776-9DE8-42CB-B4C3-5743EF640FED}" type="datetime'''''''''''''''''''''''A''''''''''''''t''''u''al'''''''''">
              <a:rPr lang="en-US" sz="3500"/>
              <a:pPr/>
              <a:t>Atual</a:t>
            </a:fld>
            <a:endParaRPr lang="pt-BR" sz="3500" dirty="0">
              <a:sym typeface="+mn-lt"/>
            </a:endParaRPr>
          </a:p>
        </p:txBody>
      </p:sp>
      <p:sp>
        <p:nvSpPr>
          <p:cNvPr id="23" name="Espaço Reservado para Texto 18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86250" y="6016625"/>
            <a:ext cx="223837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2B15838-FC0A-47C6-AC92-FFE00F944B86}" type="datetime'I''''''''''''n''''''''cr''''''e''''me''n''''t''''o'''''''''''">
              <a:rPr lang="en-US" sz="3500"/>
              <a:pPr/>
              <a:t>Incremento</a:t>
            </a:fld>
            <a:endParaRPr lang="pt-BR" sz="3500" dirty="0">
              <a:sym typeface="+mn-lt"/>
            </a:endParaRPr>
          </a:p>
        </p:txBody>
      </p:sp>
      <p:sp>
        <p:nvSpPr>
          <p:cNvPr id="41" name="Espaço Reservado para Texto 2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4591050" y="2238375"/>
            <a:ext cx="1628775" cy="679450"/>
          </a:xfrm>
          <a:prstGeom prst="ellipse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txBody>
          <a:bodyPr wrap="none" lIns="0" tIns="0" rIns="0" bIns="0" numCol="1" spcCol="0" anchor="ctr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0AC0D855-51C3-4BA0-AA28-D707D9279C09}" type="datetime'''+''''''''52''''''%'''''''''''''''''''''''">
              <a:rPr lang="en-US" sz="3500" b="1"/>
              <a:pPr/>
              <a:t>+52%</a:t>
            </a:fld>
            <a:endParaRPr lang="pt-BR" sz="3500" b="1" dirty="0">
              <a:sym typeface="+mn-lt"/>
            </a:endParaRPr>
          </a:p>
        </p:txBody>
      </p:sp>
      <p:sp>
        <p:nvSpPr>
          <p:cNvPr id="32" name="Espaço Reservado para Texto 2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162800" y="6016625"/>
            <a:ext cx="952500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8553B2D4-6309-4A1E-B41F-524CD549132E}" type="datetime'''''T''o''''t''''a''''''l'''''''''''''''''''''''''''">
              <a:rPr lang="en-US" sz="3500"/>
              <a:pPr/>
              <a:t>Total</a:t>
            </a:fld>
            <a:endParaRPr lang="pt-BR" sz="3500" dirty="0">
              <a:latin typeface="Arial"/>
              <a:sym typeface="Arial"/>
            </a:endParaRPr>
          </a:p>
        </p:txBody>
      </p:sp>
      <p:sp>
        <p:nvSpPr>
          <p:cNvPr id="40" name="Rectangle 3"/>
          <p:cNvSpPr txBox="1">
            <a:spLocks noChangeArrowheads="1"/>
          </p:cNvSpPr>
          <p:nvPr/>
        </p:nvSpPr>
        <p:spPr bwMode="auto">
          <a:xfrm>
            <a:off x="1226479" y="1351310"/>
            <a:ext cx="6657889" cy="1134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t-BR" altLang="pt-BR" sz="2400" kern="0" dirty="0" smtClean="0"/>
              <a:t>Capacidade de reservação do município (milhares de m³)</a:t>
            </a:r>
            <a:endParaRPr lang="pt-BR" altLang="pt-BR" sz="2400" kern="0" dirty="0"/>
          </a:p>
        </p:txBody>
      </p:sp>
    </p:spTree>
    <p:extLst>
      <p:ext uri="{BB962C8B-B14F-4D97-AF65-F5344CB8AC3E}">
        <p14:creationId xmlns:p14="http://schemas.microsoft.com/office/powerpoint/2010/main" val="2711418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524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 </a:t>
            </a: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– Parte 1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93" t="32033" r="19142" b="32425"/>
          <a:stretch/>
        </p:blipFill>
        <p:spPr bwMode="auto">
          <a:xfrm>
            <a:off x="1136574" y="2276872"/>
            <a:ext cx="7755905" cy="2427935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843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524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45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ricanduva</a:t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2 – Parte 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11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84" t="14365" r="37578" b="6791"/>
          <a:stretch/>
        </p:blipFill>
        <p:spPr bwMode="auto">
          <a:xfrm>
            <a:off x="1835696" y="2045671"/>
            <a:ext cx="4848143" cy="4680520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6" name="Picture 1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9704" t="23086" r="20019" b="14576"/>
          <a:stretch/>
        </p:blipFill>
        <p:spPr bwMode="auto">
          <a:xfrm>
            <a:off x="6804249" y="1607866"/>
            <a:ext cx="1219637" cy="21091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tângulo 6"/>
          <p:cNvSpPr/>
          <p:nvPr/>
        </p:nvSpPr>
        <p:spPr>
          <a:xfrm>
            <a:off x="6804250" y="1463850"/>
            <a:ext cx="1219636" cy="432048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/>
            <a:r>
              <a:rPr lang="pt-BR" sz="1100" b="1" dirty="0" smtClean="0">
                <a:solidFill>
                  <a:schemeClr val="tx1"/>
                </a:solidFill>
              </a:rPr>
              <a:t>Estrutura de </a:t>
            </a:r>
            <a:r>
              <a:rPr lang="pt-BR" sz="1100" b="1" dirty="0" err="1" smtClean="0">
                <a:solidFill>
                  <a:schemeClr val="tx1"/>
                </a:solidFill>
              </a:rPr>
              <a:t>Extravasão</a:t>
            </a:r>
            <a:r>
              <a:rPr lang="pt-BR" sz="1100" b="1" dirty="0" smtClean="0">
                <a:solidFill>
                  <a:schemeClr val="tx1"/>
                </a:solidFill>
              </a:rPr>
              <a:t> AR-1</a:t>
            </a:r>
          </a:p>
        </p:txBody>
      </p:sp>
      <p:sp>
        <p:nvSpPr>
          <p:cNvPr id="8" name="Retângulo 7"/>
          <p:cNvSpPr/>
          <p:nvPr/>
        </p:nvSpPr>
        <p:spPr>
          <a:xfrm>
            <a:off x="6804251" y="3259447"/>
            <a:ext cx="1219636" cy="457585"/>
          </a:xfrm>
          <a:prstGeom prst="rect">
            <a:avLst/>
          </a:prstGeom>
          <a:solidFill>
            <a:schemeClr val="bg1"/>
          </a:solidFill>
          <a:ln w="6350">
            <a:solidFill>
              <a:schemeClr val="bg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/>
            <a:r>
              <a:rPr lang="pt-BR" sz="1100" b="1" dirty="0" smtClean="0">
                <a:solidFill>
                  <a:schemeClr val="tx1"/>
                </a:solidFill>
              </a:rPr>
              <a:t>Estrutura de </a:t>
            </a:r>
            <a:r>
              <a:rPr lang="pt-BR" sz="1100" b="1" dirty="0" err="1" smtClean="0">
                <a:solidFill>
                  <a:schemeClr val="tx1"/>
                </a:solidFill>
              </a:rPr>
              <a:t>Extravasão</a:t>
            </a:r>
            <a:r>
              <a:rPr lang="pt-BR" sz="1100" b="1" dirty="0" smtClean="0">
                <a:solidFill>
                  <a:schemeClr val="tx1"/>
                </a:solidFill>
              </a:rPr>
              <a:t> Limoeiro</a:t>
            </a:r>
          </a:p>
        </p:txBody>
      </p:sp>
      <p:sp>
        <p:nvSpPr>
          <p:cNvPr id="9" name="Elipse 8"/>
          <p:cNvSpPr/>
          <p:nvPr/>
        </p:nvSpPr>
        <p:spPr>
          <a:xfrm>
            <a:off x="6612733" y="1870040"/>
            <a:ext cx="288032" cy="280738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/>
            <a:r>
              <a:rPr lang="pt-BR" sz="2000" b="1" dirty="0" smtClean="0">
                <a:solidFill>
                  <a:schemeClr val="tx1"/>
                </a:solidFill>
              </a:rPr>
              <a:t>+</a:t>
            </a:r>
          </a:p>
        </p:txBody>
      </p:sp>
    </p:spTree>
    <p:extLst>
      <p:ext uri="{BB962C8B-B14F-4D97-AF65-F5344CB8AC3E}">
        <p14:creationId xmlns:p14="http://schemas.microsoft.com/office/powerpoint/2010/main" val="249843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0993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6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vuvus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ção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ço Reservado para Texto 3"/>
          <p:cNvSpPr txBox="1">
            <a:spLocks/>
          </p:cNvSpPr>
          <p:nvPr/>
        </p:nvSpPr>
        <p:spPr bwMode="auto">
          <a:xfrm>
            <a:off x="1475656" y="1844824"/>
            <a:ext cx="7128792" cy="4464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pt-B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lvl="1"/>
            <a:r>
              <a:rPr lang="pt-BR" b="1" dirty="0" smtClean="0"/>
              <a:t>Lote 1 (CONSÓRCIO DP BARROS - PAULITEC)</a:t>
            </a:r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 smtClean="0"/>
              <a:t>Implantação de um reservatório (R3) com 110 mil m³ de reservação</a:t>
            </a:r>
          </a:p>
          <a:p>
            <a:pPr lvl="2">
              <a:buFont typeface="Arial" panose="020B0604020202020204" pitchFamily="34" charset="0"/>
              <a:buChar char="."/>
            </a:pPr>
            <a:endParaRPr lang="pt-BR" dirty="0" smtClean="0"/>
          </a:p>
          <a:p>
            <a:pPr lvl="1"/>
            <a:r>
              <a:rPr lang="pt-BR" b="1" dirty="0" smtClean="0"/>
              <a:t>Lote 2 (CONSÓRCIO TCG - CÓRREGO ZAVUVUS)</a:t>
            </a:r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 smtClean="0"/>
              <a:t>Implantação de um reservatório (R2) com 130 mil m³ de reservação</a:t>
            </a:r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/>
              <a:t>Implantação de Parque Linear em área de 48 mil </a:t>
            </a:r>
            <a:r>
              <a:rPr lang="pt-BR" dirty="0" smtClean="0"/>
              <a:t>m²</a:t>
            </a:r>
          </a:p>
          <a:p>
            <a:pPr lvl="2">
              <a:buFont typeface="Arial" panose="020B0604020202020204" pitchFamily="34" charset="0"/>
              <a:buChar char="."/>
            </a:pPr>
            <a:endParaRPr lang="pt-BR" dirty="0"/>
          </a:p>
          <a:p>
            <a:pPr lvl="1"/>
            <a:r>
              <a:rPr lang="pt-BR" b="1" dirty="0"/>
              <a:t>Lote 3 </a:t>
            </a:r>
            <a:r>
              <a:rPr lang="pt-BR" b="1" dirty="0" smtClean="0"/>
              <a:t>(CONSÓRCIO </a:t>
            </a:r>
            <a:r>
              <a:rPr lang="pt-BR" b="1" dirty="0"/>
              <a:t>FBS / ETAMA)</a:t>
            </a:r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/>
              <a:t>Canalização de 2,1 km do Córrego </a:t>
            </a:r>
            <a:r>
              <a:rPr lang="pt-BR" dirty="0" err="1"/>
              <a:t>Zavuvus</a:t>
            </a:r>
            <a:endParaRPr lang="pt-BR" dirty="0"/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/>
              <a:t>Reforço de 1,2 km de galeria</a:t>
            </a:r>
          </a:p>
          <a:p>
            <a:pPr marL="1081088" lvl="2" indent="-273050">
              <a:buFont typeface="Arial" panose="020B0604020202020204" pitchFamily="34" charset="0"/>
              <a:buChar char="."/>
            </a:pPr>
            <a:r>
              <a:rPr lang="pt-BR" dirty="0"/>
              <a:t>Implantação de Parque Linear em área de 124 mil m²</a:t>
            </a:r>
          </a:p>
          <a:p>
            <a:pPr lvl="2">
              <a:buFont typeface="Arial" panose="020B0604020202020204" pitchFamily="34" charset="0"/>
              <a:buChar char="."/>
            </a:pPr>
            <a:endParaRPr lang="pt-BR" dirty="0" smtClean="0"/>
          </a:p>
        </p:txBody>
      </p:sp>
      <p:sp>
        <p:nvSpPr>
          <p:cNvPr id="8" name="Espaço Reservado para Texto 3"/>
          <p:cNvSpPr txBox="1">
            <a:spLocks/>
          </p:cNvSpPr>
          <p:nvPr/>
        </p:nvSpPr>
        <p:spPr>
          <a:xfrm>
            <a:off x="2123728" y="4509120"/>
            <a:ext cx="3972222" cy="1377192"/>
          </a:xfrm>
          <a:prstGeom prst="rect">
            <a:avLst/>
          </a:prstGeom>
          <a:ln>
            <a:noFill/>
          </a:ln>
        </p:spPr>
        <p:txBody>
          <a:bodyPr lIns="36000" tIns="36000" rIns="36000" bIns="36000" anchor="t">
            <a:noAutofit/>
          </a:bodyPr>
          <a:lstStyle>
            <a:lvl1pPr marL="95250" indent="-9525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75" indent="-85725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6225" indent="-9525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.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2425" indent="-85725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-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57200" indent="-95250" algn="l" rtl="0" eaLnBrk="0" fontAlgn="base" hangingPunct="0">
              <a:spcBef>
                <a:spcPts val="0"/>
              </a:spcBef>
              <a:spcAft>
                <a:spcPct val="0"/>
              </a:spcAft>
              <a:buFont typeface="Arial" charset="0"/>
              <a:buChar char=".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>
              <a:buFont typeface="Arial" panose="020B0604020202020204" pitchFamily="34" charset="0"/>
              <a:buChar char="."/>
            </a:pPr>
            <a:endParaRPr lang="pt-BR" sz="1300" dirty="0" smtClean="0"/>
          </a:p>
        </p:txBody>
      </p:sp>
    </p:spTree>
    <p:extLst>
      <p:ext uri="{BB962C8B-B14F-4D97-AF65-F5344CB8AC3E}">
        <p14:creationId xmlns:p14="http://schemas.microsoft.com/office/powerpoint/2010/main" val="403671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15219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vuvus</a:t>
            </a: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a Ilustrativo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1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09" t="13835" r="12012" b="22927"/>
          <a:stretch/>
        </p:blipFill>
        <p:spPr bwMode="auto">
          <a:xfrm>
            <a:off x="1304483" y="1882381"/>
            <a:ext cx="7761514" cy="3737010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8" name="Conector de seta reta 7"/>
          <p:cNvCxnSpPr/>
          <p:nvPr/>
        </p:nvCxnSpPr>
        <p:spPr>
          <a:xfrm>
            <a:off x="2267744" y="3501008"/>
            <a:ext cx="2232248" cy="2622551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tângulo de cantos arredondados 8"/>
          <p:cNvSpPr/>
          <p:nvPr/>
        </p:nvSpPr>
        <p:spPr>
          <a:xfrm>
            <a:off x="4355976" y="5949280"/>
            <a:ext cx="2312754" cy="34855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i="1" dirty="0" smtClean="0">
                <a:solidFill>
                  <a:schemeClr val="tx1"/>
                </a:solidFill>
              </a:rPr>
              <a:t>1ª frente de obras</a:t>
            </a:r>
            <a:endParaRPr lang="pt-BR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1672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95249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9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vuvus</a:t>
            </a: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1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8" t="30638" r="36798" b="6906"/>
          <a:stretch/>
        </p:blipFill>
        <p:spPr bwMode="auto">
          <a:xfrm>
            <a:off x="1695075" y="1826879"/>
            <a:ext cx="6833969" cy="4022615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98436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32112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8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vuvus</a:t>
            </a: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2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411" t="18017" r="28039" b="37311"/>
          <a:stretch/>
        </p:blipFill>
        <p:spPr bwMode="auto">
          <a:xfrm>
            <a:off x="2411760" y="1772816"/>
            <a:ext cx="5680859" cy="4385433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2646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8649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2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691680" y="188640"/>
            <a:ext cx="7452320" cy="1143000"/>
          </a:xfrm>
        </p:spPr>
        <p:txBody>
          <a:bodyPr anchor="b"/>
          <a:lstStyle/>
          <a:p>
            <a:pPr algn="l"/>
            <a:r>
              <a:rPr lang="pt-BR" altLang="pt-BR" sz="3000" b="1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avuvus</a:t>
            </a:r>
            <a: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pt-BR" altLang="pt-BR" sz="30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altLang="pt-BR" sz="3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te 3</a:t>
            </a:r>
            <a:endParaRPr lang="pt-BR" altLang="pt-BR" sz="30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63" t="33390" r="63802" b="17470"/>
          <a:stretch/>
        </p:blipFill>
        <p:spPr bwMode="auto">
          <a:xfrm>
            <a:off x="1043608" y="2611786"/>
            <a:ext cx="2764465" cy="237782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3051" t="34917" r="1300" b="15943"/>
          <a:stretch/>
        </p:blipFill>
        <p:spPr bwMode="auto">
          <a:xfrm>
            <a:off x="4210405" y="2611787"/>
            <a:ext cx="4787235" cy="2377828"/>
          </a:xfrm>
          <a:prstGeom prst="rect">
            <a:avLst/>
          </a:prstGeom>
          <a:noFill/>
          <a:ln w="9525">
            <a:solidFill>
              <a:srgbClr val="FFC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Elipse 8"/>
          <p:cNvSpPr/>
          <p:nvPr/>
        </p:nvSpPr>
        <p:spPr>
          <a:xfrm>
            <a:off x="3865223" y="3660331"/>
            <a:ext cx="288032" cy="280738"/>
          </a:xfrm>
          <a:prstGeom prst="ellipse">
            <a:avLst/>
          </a:prstGeom>
          <a:solidFill>
            <a:srgbClr val="FFC000"/>
          </a:solidFill>
          <a:ln w="63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/>
            <a:r>
              <a:rPr lang="pt-BR" sz="2000" b="1" dirty="0" smtClean="0">
                <a:solidFill>
                  <a:schemeClr val="tx1"/>
                </a:solidFill>
              </a:rPr>
              <a:t>+</a:t>
            </a:r>
          </a:p>
        </p:txBody>
      </p:sp>
      <p:cxnSp>
        <p:nvCxnSpPr>
          <p:cNvPr id="10" name="Conector de seta reta 9"/>
          <p:cNvCxnSpPr/>
          <p:nvPr/>
        </p:nvCxnSpPr>
        <p:spPr>
          <a:xfrm>
            <a:off x="2087724" y="4365104"/>
            <a:ext cx="2065531" cy="1584176"/>
          </a:xfrm>
          <a:prstGeom prst="straightConnector1">
            <a:avLst/>
          </a:prstGeom>
          <a:ln w="38100">
            <a:solidFill>
              <a:schemeClr val="tx1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de cantos arredondados 10"/>
          <p:cNvSpPr/>
          <p:nvPr/>
        </p:nvSpPr>
        <p:spPr>
          <a:xfrm>
            <a:off x="3877541" y="5775001"/>
            <a:ext cx="2312754" cy="348558"/>
          </a:xfrm>
          <a:prstGeom prst="roundRect">
            <a:avLst/>
          </a:prstGeom>
          <a:solidFill>
            <a:schemeClr val="bg1"/>
          </a:solidFill>
          <a:ln w="1270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i="1" dirty="0" smtClean="0">
                <a:solidFill>
                  <a:schemeClr val="tx1"/>
                </a:solidFill>
              </a:rPr>
              <a:t>1ª frente de obras</a:t>
            </a:r>
            <a:endParaRPr lang="pt-BR" i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4365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2770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8" name="Slide do think-cell" r:id="rId18" imgW="270" imgH="270" progId="TCLayout.ActiveDocument.1">
                  <p:embed/>
                </p:oleObj>
              </mc:Choice>
              <mc:Fallback>
                <p:oleObj name="Slide do think-cell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tângulo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pt-BR" sz="3200">
              <a:latin typeface="Arial"/>
              <a:sym typeface="Arial"/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59824" cy="1143000"/>
          </a:xfrm>
        </p:spPr>
        <p:txBody>
          <a:bodyPr anchor="b"/>
          <a:lstStyle/>
          <a:p>
            <a:pPr algn="l"/>
            <a:r>
              <a:rPr lang="pt-BR" altLang="pt-BR" sz="36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 grandes obras em andamento + PRA: R$ 1,2 bi</a:t>
            </a:r>
            <a:endParaRPr lang="pt-BR" altLang="pt-BR" sz="36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Conector reto 7"/>
          <p:cNvCxnSpPr/>
          <p:nvPr>
            <p:custDataLst>
              <p:tags r:id="rId4"/>
            </p:custDataLst>
          </p:nvPr>
        </p:nvCxnSpPr>
        <p:spPr bwMode="auto">
          <a:xfrm>
            <a:off x="7191375" y="2638425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ector reto 20"/>
          <p:cNvCxnSpPr/>
          <p:nvPr>
            <p:custDataLst>
              <p:tags r:id="rId5"/>
            </p:custDataLst>
          </p:nvPr>
        </p:nvCxnSpPr>
        <p:spPr bwMode="auto">
          <a:xfrm>
            <a:off x="2571750" y="3400425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ector reto 24"/>
          <p:cNvCxnSpPr/>
          <p:nvPr>
            <p:custDataLst>
              <p:tags r:id="rId6"/>
            </p:custDataLst>
          </p:nvPr>
        </p:nvCxnSpPr>
        <p:spPr bwMode="auto">
          <a:xfrm>
            <a:off x="4114800" y="3114675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/>
          <p:cNvCxnSpPr/>
          <p:nvPr>
            <p:custDataLst>
              <p:tags r:id="rId7"/>
            </p:custDataLst>
          </p:nvPr>
        </p:nvCxnSpPr>
        <p:spPr bwMode="auto">
          <a:xfrm>
            <a:off x="5648325" y="2857500"/>
            <a:ext cx="685800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to 9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033563348"/>
              </p:ext>
            </p:extLst>
          </p:nvPr>
        </p:nvGraphicFramePr>
        <p:xfrm>
          <a:off x="1257300" y="1905000"/>
          <a:ext cx="7915343" cy="2828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49" name="Gráfico" r:id="rId20" imgW="7915343" imgH="2828925" progId="MSGraph.Chart.8">
                  <p:embed followColorScheme="full"/>
                </p:oleObj>
              </mc:Choice>
              <mc:Fallback>
                <p:oleObj name="Gráfico" r:id="rId20" imgW="7915343" imgH="282892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257300" y="1905000"/>
                        <a:ext cx="7915343" cy="28289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8" name="Conector reto 37"/>
          <p:cNvCxnSpPr/>
          <p:nvPr>
            <p:custDataLst>
              <p:tags r:id="rId9"/>
            </p:custDataLst>
          </p:nvPr>
        </p:nvCxnSpPr>
        <p:spPr bwMode="auto">
          <a:xfrm>
            <a:off x="3686175" y="308927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/>
          <p:nvPr>
            <p:custDataLst>
              <p:tags r:id="rId10"/>
            </p:custDataLst>
          </p:nvPr>
        </p:nvCxnSpPr>
        <p:spPr bwMode="auto">
          <a:xfrm>
            <a:off x="6762750" y="2613025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/>
          <p:nvPr>
            <p:custDataLst>
              <p:tags r:id="rId11"/>
            </p:custDataLst>
          </p:nvPr>
        </p:nvCxnSpPr>
        <p:spPr bwMode="auto">
          <a:xfrm>
            <a:off x="5224463" y="2832100"/>
            <a:ext cx="0" cy="1016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spaço Reservado para Texto 5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7959725" y="4921250"/>
            <a:ext cx="682625" cy="381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F44C9A0-C53F-44B9-8370-6FD57581EC6E}" type="datetime'''''''''''''''''''''''''''T''''''''o''''''ta''''''''''l'''''''">
              <a:rPr lang="en-US" sz="2500"/>
              <a:pPr/>
              <a:t>Total</a:t>
            </a:fld>
            <a:endParaRPr lang="pt-BR" sz="2500" dirty="0">
              <a:latin typeface="Arial"/>
              <a:sym typeface="Arial"/>
            </a:endParaRPr>
          </a:p>
        </p:txBody>
      </p:sp>
      <p:sp>
        <p:nvSpPr>
          <p:cNvPr id="18" name="Espaço Reservado para Texto 4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5910263" y="4921250"/>
            <a:ext cx="1704975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4861C8-F961-45B0-B9A3-3915CFDB675F}" type="datetime'PRA (''Conc''lu''ídas do'' PRA 1'' +'' ''Novas do P''RA 2)'">
              <a:rPr lang="en-US" sz="2500"/>
              <a:pPr/>
              <a:t>PRA (Concluídas do PRA 1 + Novas do PRA 2)</a:t>
            </a:fld>
            <a:endParaRPr lang="pt-BR" sz="2500" dirty="0">
              <a:latin typeface="Arial"/>
              <a:sym typeface="Arial"/>
            </a:endParaRPr>
          </a:p>
        </p:txBody>
      </p:sp>
      <p:sp>
        <p:nvSpPr>
          <p:cNvPr id="32" name="Espaço Reservado para Texto 2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662488" y="4921250"/>
            <a:ext cx="1123950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D46B29B-1C56-4DB2-8AD4-7D2AB3B953C4}" type="datetime'S''''''um''aré / Águ''''''''''''''a'' ''''''Pr''''e''ta'">
              <a:rPr lang="en-US" sz="2500"/>
              <a:pPr/>
              <a:t>Sumaré / Água Preta</a:t>
            </a:fld>
            <a:endParaRPr lang="pt-BR" sz="2500" dirty="0">
              <a:latin typeface="Arial"/>
              <a:sym typeface="Arial"/>
            </a:endParaRPr>
          </a:p>
        </p:txBody>
      </p:sp>
      <p:sp>
        <p:nvSpPr>
          <p:cNvPr id="23" name="Espaço Reservado para Texto 18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071813" y="4921250"/>
            <a:ext cx="12287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D06B7A73-F9AC-4695-99B8-89E0F67F3356}" type="datetime'''''''Co''''rd''e''''''i''r''''''o ''''Fas''e'''''' ''''''''1'">
              <a:rPr lang="en-US" sz="2500"/>
              <a:pPr/>
              <a:t>Cordeiro Fase 1</a:t>
            </a:fld>
            <a:endParaRPr lang="pt-BR" sz="2500" dirty="0">
              <a:sym typeface="+mn-lt"/>
            </a:endParaRPr>
          </a:p>
        </p:txBody>
      </p:sp>
      <p:sp>
        <p:nvSpPr>
          <p:cNvPr id="22" name="Espaço Reservado para Texto 1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27200" y="4921250"/>
            <a:ext cx="8413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numCol="1" spcCol="0" anchor="t" anchorCtr="0">
            <a:noAutofit/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55B2BAF9-0FDF-44F9-87AC-7101D3292384}" type="datetime'''''''''''''''''''''Pon''te'''' ''B''''''ai''''x''''''''''a'''">
              <a:rPr lang="en-US" sz="2500"/>
              <a:pPr/>
              <a:t>Ponte Baixa</a:t>
            </a:fld>
            <a:endParaRPr lang="pt-BR" sz="2500" dirty="0">
              <a:sym typeface="+mn-lt"/>
            </a:endParaRPr>
          </a:p>
        </p:txBody>
      </p:sp>
      <p:sp>
        <p:nvSpPr>
          <p:cNvPr id="40" name="Rectangle 3"/>
          <p:cNvSpPr txBox="1">
            <a:spLocks noChangeArrowheads="1"/>
          </p:cNvSpPr>
          <p:nvPr/>
        </p:nvSpPr>
        <p:spPr bwMode="auto">
          <a:xfrm>
            <a:off x="1226479" y="1351310"/>
            <a:ext cx="6657889" cy="11347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pt-BR" altLang="pt-BR" sz="2400" kern="0" dirty="0" smtClean="0"/>
              <a:t>Investimento, R$ Mi</a:t>
            </a:r>
            <a:endParaRPr lang="pt-BR" altLang="pt-BR" sz="2400" kern="0" dirty="0"/>
          </a:p>
        </p:txBody>
      </p:sp>
    </p:spTree>
    <p:extLst>
      <p:ext uri="{BB962C8B-B14F-4D97-AF65-F5344CB8AC3E}">
        <p14:creationId xmlns:p14="http://schemas.microsoft.com/office/powerpoint/2010/main" val="32192474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4464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21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tângulo 13"/>
          <p:cNvSpPr/>
          <p:nvPr/>
        </p:nvSpPr>
        <p:spPr>
          <a:xfrm>
            <a:off x="179512" y="3891055"/>
            <a:ext cx="8846288" cy="2922321"/>
          </a:xfrm>
          <a:prstGeom prst="rect">
            <a:avLst/>
          </a:prstGeom>
          <a:solidFill>
            <a:schemeClr val="bg1"/>
          </a:solidFill>
          <a:ln w="6350">
            <a:solidFill>
              <a:schemeClr val="tx2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180975" indent="-95250" algn="l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pt-BR" sz="1600" b="1" dirty="0" smtClean="0">
              <a:solidFill>
                <a:schemeClr val="tx1"/>
              </a:solidFill>
            </a:endParaRPr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59824" cy="1143000"/>
          </a:xfrm>
        </p:spPr>
        <p:txBody>
          <a:bodyPr anchor="b"/>
          <a:lstStyle/>
          <a:p>
            <a:pPr algn="l"/>
            <a:r>
              <a:rPr lang="pt-BR" altLang="pt-BR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: Entrega do trecho até o Piraporinha em </a:t>
            </a:r>
            <a:r>
              <a:rPr lang="pt-BR" altLang="pt-BR" sz="3200" b="1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v</a:t>
            </a:r>
            <a:r>
              <a:rPr lang="pt-BR" altLang="pt-BR" sz="32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/16</a:t>
            </a:r>
            <a:endParaRPr lang="pt-BR" altLang="pt-BR" sz="3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985226" y="1279393"/>
            <a:ext cx="6040574" cy="2560389"/>
          </a:xfrm>
        </p:spPr>
        <p:txBody>
          <a:bodyPr/>
          <a:lstStyle/>
          <a:p>
            <a:pPr marL="180975" indent="-180975">
              <a:spcBef>
                <a:spcPts val="0"/>
              </a:spcBef>
              <a:spcAft>
                <a:spcPts val="0"/>
              </a:spcAft>
            </a:pPr>
            <a:endParaRPr lang="pt-BR" altLang="pt-BR" sz="2800" dirty="0" smtClean="0"/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dirty="0" smtClean="0"/>
              <a:t>R$ 765 Mi (R$ 326 Mi OGU; R$ 62 Mi MCMV)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dirty="0" smtClean="0"/>
              <a:t>300 trabalhadores na obra</a:t>
            </a:r>
          </a:p>
          <a:p>
            <a:pPr marL="180975" indent="-180975">
              <a:spcBef>
                <a:spcPts val="0"/>
              </a:spcBef>
              <a:spcAft>
                <a:spcPts val="0"/>
              </a:spcAft>
            </a:pPr>
            <a:r>
              <a:rPr lang="pt-BR" altLang="pt-BR" sz="2800" dirty="0" smtClean="0"/>
              <a:t>Entrega total em</a:t>
            </a: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2800" dirty="0" smtClean="0"/>
              <a:t>  dez/16</a:t>
            </a:r>
            <a:endParaRPr lang="pt-BR" altLang="pt-BR" sz="2800" strike="sngStrike" dirty="0" smtClean="0"/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ângulo 3"/>
          <p:cNvSpPr/>
          <p:nvPr/>
        </p:nvSpPr>
        <p:spPr>
          <a:xfrm>
            <a:off x="1907704" y="5589240"/>
            <a:ext cx="6768752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1"/>
                </a:solidFill>
              </a:rPr>
              <a:t>MAPA SERÁ INSERIDO AQUI</a:t>
            </a:r>
            <a:endParaRPr lang="pt-BR" dirty="0">
              <a:solidFill>
                <a:schemeClr val="tx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29" t="19257" r="3590" b="4466"/>
          <a:stretch/>
        </p:blipFill>
        <p:spPr bwMode="auto">
          <a:xfrm>
            <a:off x="179512" y="4070176"/>
            <a:ext cx="8846288" cy="27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5864842" y="3829149"/>
            <a:ext cx="898054" cy="28803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Canalização</a:t>
            </a:r>
          </a:p>
        </p:txBody>
      </p:sp>
      <p:sp>
        <p:nvSpPr>
          <p:cNvPr id="9" name="Retângulo 8"/>
          <p:cNvSpPr/>
          <p:nvPr/>
        </p:nvSpPr>
        <p:spPr>
          <a:xfrm>
            <a:off x="7273103" y="3829149"/>
            <a:ext cx="898054" cy="28803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Viário</a:t>
            </a:r>
          </a:p>
        </p:txBody>
      </p:sp>
      <p:sp>
        <p:nvSpPr>
          <p:cNvPr id="10" name="Retângulo 9"/>
          <p:cNvSpPr/>
          <p:nvPr/>
        </p:nvSpPr>
        <p:spPr>
          <a:xfrm>
            <a:off x="8241106" y="3829149"/>
            <a:ext cx="898054" cy="288032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Pq. Linear</a:t>
            </a:r>
          </a:p>
        </p:txBody>
      </p:sp>
      <p:sp>
        <p:nvSpPr>
          <p:cNvPr id="11" name="Retângulo 10"/>
          <p:cNvSpPr/>
          <p:nvPr/>
        </p:nvSpPr>
        <p:spPr>
          <a:xfrm>
            <a:off x="5594475" y="3933587"/>
            <a:ext cx="304325" cy="100953"/>
          </a:xfrm>
          <a:prstGeom prst="rect">
            <a:avLst/>
          </a:prstGeom>
          <a:solidFill>
            <a:srgbClr val="003399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endParaRPr lang="pt-BR" sz="1000" dirty="0" smtClean="0">
              <a:solidFill>
                <a:schemeClr val="tx1"/>
              </a:solidFill>
            </a:endParaRPr>
          </a:p>
        </p:txBody>
      </p:sp>
      <p:sp>
        <p:nvSpPr>
          <p:cNvPr id="12" name="Retângulo 11"/>
          <p:cNvSpPr/>
          <p:nvPr/>
        </p:nvSpPr>
        <p:spPr>
          <a:xfrm>
            <a:off x="7002736" y="3933587"/>
            <a:ext cx="304325" cy="100953"/>
          </a:xfrm>
          <a:prstGeom prst="rect">
            <a:avLst/>
          </a:prstGeom>
          <a:solidFill>
            <a:srgbClr val="FF0000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endParaRPr lang="pt-BR" sz="1000" dirty="0" smtClean="0">
              <a:solidFill>
                <a:schemeClr val="tx1"/>
              </a:solidFill>
            </a:endParaRPr>
          </a:p>
        </p:txBody>
      </p:sp>
      <p:sp>
        <p:nvSpPr>
          <p:cNvPr id="13" name="Retângulo 12"/>
          <p:cNvSpPr/>
          <p:nvPr/>
        </p:nvSpPr>
        <p:spPr>
          <a:xfrm>
            <a:off x="7970739" y="3933587"/>
            <a:ext cx="304325" cy="100953"/>
          </a:xfrm>
          <a:prstGeom prst="rect">
            <a:avLst/>
          </a:prstGeom>
          <a:solidFill>
            <a:srgbClr val="66F06D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t" anchorCtr="0">
            <a:noAutofit/>
          </a:bodyPr>
          <a:lstStyle/>
          <a:p>
            <a:pPr marL="85725" algn="l">
              <a:lnSpc>
                <a:spcPct val="150000"/>
              </a:lnSpc>
            </a:pPr>
            <a:endParaRPr lang="pt-BR" sz="1000" dirty="0" smtClean="0">
              <a:solidFill>
                <a:schemeClr val="tx1"/>
              </a:solidFill>
            </a:endParaRPr>
          </a:p>
        </p:txBody>
      </p:sp>
      <p:sp>
        <p:nvSpPr>
          <p:cNvPr id="15" name="Retângulo 14"/>
          <p:cNvSpPr/>
          <p:nvPr/>
        </p:nvSpPr>
        <p:spPr>
          <a:xfrm>
            <a:off x="3139602" y="4361025"/>
            <a:ext cx="1236397" cy="216403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Córrego Jd. Letícia</a:t>
            </a:r>
          </a:p>
        </p:txBody>
      </p:sp>
      <p:cxnSp>
        <p:nvCxnSpPr>
          <p:cNvPr id="16" name="Conector reto 15"/>
          <p:cNvCxnSpPr>
            <a:endCxn id="15" idx="1"/>
          </p:cNvCxnSpPr>
          <p:nvPr/>
        </p:nvCxnSpPr>
        <p:spPr>
          <a:xfrm flipV="1">
            <a:off x="2846249" y="4469227"/>
            <a:ext cx="293353" cy="9837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ector reto 17"/>
          <p:cNvCxnSpPr/>
          <p:nvPr/>
        </p:nvCxnSpPr>
        <p:spPr>
          <a:xfrm flipV="1">
            <a:off x="7037843" y="4907776"/>
            <a:ext cx="146676" cy="33229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tângulo 18"/>
          <p:cNvSpPr/>
          <p:nvPr/>
        </p:nvSpPr>
        <p:spPr>
          <a:xfrm>
            <a:off x="4818681" y="4857519"/>
            <a:ext cx="618198" cy="206574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Magaldi</a:t>
            </a:r>
          </a:p>
        </p:txBody>
      </p:sp>
      <p:cxnSp>
        <p:nvCxnSpPr>
          <p:cNvPr id="20" name="Conector reto 19"/>
          <p:cNvCxnSpPr>
            <a:endCxn id="19" idx="1"/>
          </p:cNvCxnSpPr>
          <p:nvPr/>
        </p:nvCxnSpPr>
        <p:spPr>
          <a:xfrm flipV="1">
            <a:off x="4525327" y="4960806"/>
            <a:ext cx="293354" cy="103286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ângulo 20"/>
          <p:cNvSpPr/>
          <p:nvPr/>
        </p:nvSpPr>
        <p:spPr>
          <a:xfrm>
            <a:off x="6229797" y="4911692"/>
            <a:ext cx="751423" cy="216403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G. Valente</a:t>
            </a:r>
          </a:p>
        </p:txBody>
      </p:sp>
      <p:cxnSp>
        <p:nvCxnSpPr>
          <p:cNvPr id="22" name="Conector reto 21"/>
          <p:cNvCxnSpPr>
            <a:endCxn id="21" idx="1"/>
          </p:cNvCxnSpPr>
          <p:nvPr/>
        </p:nvCxnSpPr>
        <p:spPr>
          <a:xfrm flipV="1">
            <a:off x="5936444" y="5019894"/>
            <a:ext cx="293353" cy="98372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817" name="Picture 49" descr="C:\Users\x050317\AppData\Local\Microsoft\Windows\Temporary Internet Files\Content.Outlook\FC27SWDW\MBoi - Corr Ponte Baixa (2)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000" t="19297" r="30720" b="45280"/>
          <a:stretch/>
        </p:blipFill>
        <p:spPr bwMode="auto">
          <a:xfrm>
            <a:off x="168880" y="1435394"/>
            <a:ext cx="2677370" cy="2287360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tângulo 16"/>
          <p:cNvSpPr/>
          <p:nvPr/>
        </p:nvSpPr>
        <p:spPr>
          <a:xfrm>
            <a:off x="7121582" y="4788942"/>
            <a:ext cx="1123997" cy="216403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 anchorCtr="0">
            <a:noAutofit/>
          </a:bodyPr>
          <a:lstStyle/>
          <a:p>
            <a:pPr algn="ctr">
              <a:lnSpc>
                <a:spcPct val="150000"/>
              </a:lnSpc>
            </a:pPr>
            <a:r>
              <a:rPr lang="pt-BR" sz="1000" dirty="0" smtClean="0">
                <a:solidFill>
                  <a:schemeClr val="tx1"/>
                </a:solidFill>
              </a:rPr>
              <a:t>Córrego P. Baixa</a:t>
            </a:r>
          </a:p>
        </p:txBody>
      </p:sp>
      <p:sp>
        <p:nvSpPr>
          <p:cNvPr id="5" name="Retângulo 4"/>
          <p:cNvSpPr/>
          <p:nvPr/>
        </p:nvSpPr>
        <p:spPr>
          <a:xfrm rot="20099119">
            <a:off x="6610121" y="2856813"/>
            <a:ext cx="2493536" cy="576064"/>
          </a:xfrm>
          <a:prstGeom prst="rect">
            <a:avLst/>
          </a:prstGeom>
          <a:solidFill>
            <a:srgbClr val="FFB7B7"/>
          </a:solidFill>
          <a:ln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tx1"/>
                </a:solidFill>
              </a:rPr>
              <a:t>R$ 100 Mi executados em 2015</a:t>
            </a:r>
            <a:endParaRPr lang="pt-BR" b="1" dirty="0">
              <a:solidFill>
                <a:schemeClr val="tx1"/>
              </a:solidFill>
            </a:endParaRPr>
          </a:p>
        </p:txBody>
      </p:sp>
      <p:sp>
        <p:nvSpPr>
          <p:cNvPr id="25" name="Chave esquerda 24"/>
          <p:cNvSpPr/>
          <p:nvPr/>
        </p:nvSpPr>
        <p:spPr>
          <a:xfrm rot="17114906">
            <a:off x="5935946" y="4211689"/>
            <a:ext cx="438647" cy="3921703"/>
          </a:xfrm>
          <a:prstGeom prst="leftBrac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Rectangle 3"/>
          <p:cNvSpPr txBox="1">
            <a:spLocks noChangeArrowheads="1"/>
          </p:cNvSpPr>
          <p:nvPr/>
        </p:nvSpPr>
        <p:spPr bwMode="auto">
          <a:xfrm rot="966177">
            <a:off x="4456583" y="6283733"/>
            <a:ext cx="1930369" cy="26826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1600" b="1" i="1" kern="0" dirty="0" smtClean="0"/>
              <a:t>trecho entregue</a:t>
            </a:r>
            <a:endParaRPr lang="pt-BR" altLang="pt-BR" sz="1600" b="1" i="1" strike="sngStrike" kern="0" dirty="0" smtClean="0"/>
          </a:p>
        </p:txBody>
      </p:sp>
      <p:sp>
        <p:nvSpPr>
          <p:cNvPr id="27" name="Chave esquerda 26"/>
          <p:cNvSpPr/>
          <p:nvPr/>
        </p:nvSpPr>
        <p:spPr>
          <a:xfrm rot="15794062">
            <a:off x="324588" y="5959601"/>
            <a:ext cx="314009" cy="509870"/>
          </a:xfrm>
          <a:prstGeom prst="leftBrac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" name="Rectangle 3"/>
          <p:cNvSpPr txBox="1">
            <a:spLocks noChangeArrowheads="1"/>
          </p:cNvSpPr>
          <p:nvPr/>
        </p:nvSpPr>
        <p:spPr bwMode="auto">
          <a:xfrm rot="20597362">
            <a:off x="242720" y="6217764"/>
            <a:ext cx="1930369" cy="422769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1600" b="1" i="1" kern="0" dirty="0" smtClean="0"/>
              <a:t>trecho em obras (Viaduto 1)</a:t>
            </a:r>
            <a:endParaRPr lang="pt-BR" altLang="pt-BR" sz="1600" b="1" i="1" strike="sngStrike" kern="0" dirty="0" smtClean="0"/>
          </a:p>
        </p:txBody>
      </p:sp>
      <p:sp>
        <p:nvSpPr>
          <p:cNvPr id="29" name="Chave esquerda 28"/>
          <p:cNvSpPr/>
          <p:nvPr/>
        </p:nvSpPr>
        <p:spPr>
          <a:xfrm rot="15794062">
            <a:off x="3138101" y="4976073"/>
            <a:ext cx="377456" cy="1814982"/>
          </a:xfrm>
          <a:prstGeom prst="leftBrace">
            <a:avLst/>
          </a:prstGeom>
          <a:ln w="571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0" name="Rectangle 3"/>
          <p:cNvSpPr txBox="1">
            <a:spLocks noChangeArrowheads="1"/>
          </p:cNvSpPr>
          <p:nvPr/>
        </p:nvSpPr>
        <p:spPr bwMode="auto">
          <a:xfrm rot="21278350">
            <a:off x="2456904" y="6191822"/>
            <a:ext cx="1930369" cy="24388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marL="342900" indent="-3429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0"/>
              </a:spcAft>
              <a:buNone/>
            </a:pPr>
            <a:r>
              <a:rPr lang="pt-BR" altLang="pt-BR" sz="1600" b="1" i="1" kern="0" dirty="0" smtClean="0"/>
              <a:t>trecho em obras</a:t>
            </a:r>
            <a:endParaRPr lang="pt-BR" altLang="pt-BR" sz="1600" b="1" i="1" strike="sngStrike" kern="0" dirty="0" smtClean="0"/>
          </a:p>
        </p:txBody>
      </p:sp>
    </p:spTree>
    <p:extLst>
      <p:ext uri="{BB962C8B-B14F-4D97-AF65-F5344CB8AC3E}">
        <p14:creationId xmlns:p14="http://schemas.microsoft.com/office/powerpoint/2010/main" val="36757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9946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77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</a:t>
            </a:r>
            <a:r>
              <a:rPr lang="pt-BR" altLang="pt-BR" sz="24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echo executado do canal do Guarapiranga até a Magaldi</a:t>
            </a:r>
            <a:endParaRPr lang="pt-BR" altLang="pt-BR" sz="24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Espaço Reservado para Conteúdo 3"/>
          <p:cNvPicPr>
            <a:picLocks noGrp="1"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095" y="1689210"/>
            <a:ext cx="7201930" cy="4464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154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97959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94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85% de execução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Retângulo 90"/>
          <p:cNvSpPr/>
          <p:nvPr/>
        </p:nvSpPr>
        <p:spPr>
          <a:xfrm>
            <a:off x="2627784" y="6042774"/>
            <a:ext cx="46805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i="1" dirty="0" smtClean="0"/>
              <a:t>Execução de canal próximo à rua </a:t>
            </a:r>
            <a:r>
              <a:rPr lang="pt-BR" sz="1600" i="1" dirty="0" err="1" smtClean="0"/>
              <a:t>Amitaba</a:t>
            </a:r>
            <a:endParaRPr lang="pt-BR" sz="1600" i="1" dirty="0"/>
          </a:p>
        </p:txBody>
      </p:sp>
      <p:pic>
        <p:nvPicPr>
          <p:cNvPr id="65647" name="Picture 111" descr="C:\Users\x050317\Downloads\IMG_20151126_112440611_HD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628800"/>
            <a:ext cx="7563215" cy="4248472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66522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4156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0" name="Slide do think-cell" r:id="rId4" imgW="270" imgH="270" progId="TCLayout.ActiveDocument.1">
                  <p:embed/>
                </p:oleObj>
              </mc:Choice>
              <mc:Fallback>
                <p:oleObj name="Slide do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>
          <a:xfrm>
            <a:off x="1584176" y="188640"/>
            <a:ext cx="7524328" cy="1143000"/>
          </a:xfrm>
        </p:spPr>
        <p:txBody>
          <a:bodyPr anchor="b"/>
          <a:lstStyle/>
          <a:p>
            <a:pPr algn="l"/>
            <a:r>
              <a:rPr lang="pt-BR" altLang="pt-BR" sz="39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nte Baixa – 85% de execução</a:t>
            </a:r>
            <a:endParaRPr lang="pt-BR" altLang="pt-BR" sz="39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3" name="Conector reto 2"/>
          <p:cNvCxnSpPr/>
          <p:nvPr/>
        </p:nvCxnSpPr>
        <p:spPr>
          <a:xfrm>
            <a:off x="1226480" y="1353824"/>
            <a:ext cx="7771160" cy="0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2163" name="Picture 3" descr="C:\Users\x050317\Downloads\IMG_20151127_095445272_HDR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9308" y="1628800"/>
            <a:ext cx="7563214" cy="4248472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ângulo 9"/>
          <p:cNvSpPr/>
          <p:nvPr/>
        </p:nvSpPr>
        <p:spPr>
          <a:xfrm>
            <a:off x="2393758" y="6042774"/>
            <a:ext cx="514857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600" i="1" dirty="0" smtClean="0"/>
              <a:t>Execução de canal entre o Condomínio das Américas</a:t>
            </a:r>
            <a:endParaRPr lang="pt-BR" sz="1600" i="1" dirty="0"/>
          </a:p>
        </p:txBody>
      </p:sp>
    </p:spTree>
    <p:extLst>
      <p:ext uri="{BB962C8B-B14F-4D97-AF65-F5344CB8AC3E}">
        <p14:creationId xmlns:p14="http://schemas.microsoft.com/office/powerpoint/2010/main" val="201968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3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O1dC_BO0OYAOgLeAbCj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PQya1JY0qaW.jMwFLzu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7NS4cy3UG_eaMC6RQQ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74ifSst06q_H8lMceEB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0RhCPSVEKA3yPF4hvtA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KE2xlqkKP91T2UgIf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LkDW6QWke8ev7hhJOoS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GcpMYb2kKC_6nyoR60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RCiyQ2vk.utDoD9XGEa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ZDOxqLEalURKINnQJa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luLxHiYeUSvBSSro7cXJ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B_6sZXTk2xjrjEHCjW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NZvGC5AkuR6Rg.G4HAq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wKsCsMO0uYQ2p39ufv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dW4o9VEK89wcpEr2gK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PLRLFXEOv1rwkCbmw1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4LxKVbtEmaKuJGxwbEX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hyxG5N20qdLmk6OKd5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LkDW6QWke8ev7hhJOoS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ORVgULCUSNtHbTMcSEg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RCiyQ2vk.utDoD9XGEa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GcpMYb2kKC_6nyoR60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oUFzfu7dUeXPK0ghNAj1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NZDOxqLEalURKINnQJ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wKsCsMO0uYQ2p39ufv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TGzS9fy0m.1U1WtV8D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gdURnNQE.ocJTn8x2L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KE2xlqkKP91T2UgIfZ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bcx_JtQWEu6Y6VFbMIIH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Ryn4nLcEeNuuSyCOP6J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hyxG5N20qdLmk6OKd5t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PLRLFXEOv1rwkCbmw1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MdW4o9VEK89wcpEr2gK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1ByyLvEEiaY_FcIBDvW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A9KKiYUUqUUO3ofgk61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zkxObbp0mtrSHB7GYJa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CKE2xlqkKP91T2UgIfZ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psSY1zEUOdw6M7fNxc6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LJ6dCQB0erXg7Nk3UwVA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31</TotalTime>
  <Words>1195</Words>
  <Application>Microsoft Office PowerPoint</Application>
  <PresentationFormat>Apresentação na tela (4:3)</PresentationFormat>
  <Paragraphs>294</Paragraphs>
  <Slides>46</Slides>
  <Notes>1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46</vt:i4>
      </vt:variant>
    </vt:vector>
  </HeadingPairs>
  <TitlesOfParts>
    <vt:vector size="49" baseType="lpstr">
      <vt:lpstr>Design padrão</vt:lpstr>
      <vt:lpstr>Slide do think-cell</vt:lpstr>
      <vt:lpstr>Gráfico</vt:lpstr>
      <vt:lpstr>Chuvas de Verão 2015/16</vt:lpstr>
      <vt:lpstr>R$ 4,8 bi de investi-mentos em Drenagem</vt:lpstr>
      <vt:lpstr>13 obras de macrodrenagem distribuídas por toda cidade</vt:lpstr>
      <vt:lpstr>Novas obras de Drenagem:  50% mais reservação </vt:lpstr>
      <vt:lpstr>3 grandes obras em andamento + PRA: R$ 1,2 bi</vt:lpstr>
      <vt:lpstr>Ponte Baixa: Entrega do trecho até o Piraporinha em fev/16</vt:lpstr>
      <vt:lpstr>Ponte Baixa – trecho executado do canal do Guarapiranga até a Magaldi</vt:lpstr>
      <vt:lpstr>Ponte Baixa – 85% de execução</vt:lpstr>
      <vt:lpstr>Ponte Baixa – 85% de execução</vt:lpstr>
      <vt:lpstr>Ponte Baixa – 85% de execução</vt:lpstr>
      <vt:lpstr>Ponte Baixa – 85% de execução</vt:lpstr>
      <vt:lpstr>Ponte Baixa – 85% de execução</vt:lpstr>
      <vt:lpstr>Cordeiro – Fase 1</vt:lpstr>
      <vt:lpstr>Cordeiro – R2</vt:lpstr>
      <vt:lpstr>Cordeiro – R2</vt:lpstr>
      <vt:lpstr>Cordeiro – R2</vt:lpstr>
      <vt:lpstr>Cordeiro – R3</vt:lpstr>
      <vt:lpstr>Cordeiro – R3</vt:lpstr>
      <vt:lpstr>Cordeiro – R3</vt:lpstr>
      <vt:lpstr>Sumaré / Água Preta</vt:lpstr>
      <vt:lpstr>Sumaré / Água Preta – 83% de execução </vt:lpstr>
      <vt:lpstr>Sumaré / Água Preta – 83% de execução </vt:lpstr>
      <vt:lpstr>Sumaré / Água Preta – 83% de execução </vt:lpstr>
      <vt:lpstr>Sumaré / Água Preta – 83% de execução </vt:lpstr>
      <vt:lpstr>Sumaré / Água Preta – 83% de execução </vt:lpstr>
      <vt:lpstr>Sumaré / Água Preta – 83% de execução </vt:lpstr>
      <vt:lpstr>Sumaré / Água Preta – 83% de execução </vt:lpstr>
      <vt:lpstr>Sumaré / Água Preta – 83% de execução </vt:lpstr>
      <vt:lpstr>PRA</vt:lpstr>
      <vt:lpstr>As 48 obras concluídas do PRA estão distribuídas por toda a cidade</vt:lpstr>
      <vt:lpstr>PRA Rua Visconde de Cairu (Mooca)</vt:lpstr>
      <vt:lpstr>PRA Rua Santa Cruz (Ipiranga)</vt:lpstr>
      <vt:lpstr>PRA Rua Min. Álvaro S. Lima (Santo Amaro)</vt:lpstr>
      <vt:lpstr>7 grandes obras de drenagem contratadas, totalizando R$ 1,7 bi, e outros 3 editais publicados</vt:lpstr>
      <vt:lpstr>Um projeto em andamento e outros dez em licitação</vt:lpstr>
      <vt:lpstr>Aricanduva Descrição</vt:lpstr>
      <vt:lpstr>Aricanduva Mapa Ilustrativo</vt:lpstr>
      <vt:lpstr>Aricanduva Lote 1 – Parte 1</vt:lpstr>
      <vt:lpstr>Aricanduva Lote 1 – Parte 2</vt:lpstr>
      <vt:lpstr>Aricanduva Lote 2 – Parte 1</vt:lpstr>
      <vt:lpstr>Aricanduva Lote 2 – Parte 2</vt:lpstr>
      <vt:lpstr>Zavuvus Descrição</vt:lpstr>
      <vt:lpstr>Zavuvus Mapa Ilustrativo</vt:lpstr>
      <vt:lpstr>Zavuvus Lote 1</vt:lpstr>
      <vt:lpstr>Zavuvus Lote 2</vt:lpstr>
      <vt:lpstr>Zavuvus Lote 3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x484384</dc:creator>
  <cp:lastModifiedBy>Regis Diniz Carreiro</cp:lastModifiedBy>
  <cp:revision>390</cp:revision>
  <cp:lastPrinted>2015-12-01T18:25:08Z</cp:lastPrinted>
  <dcterms:created xsi:type="dcterms:W3CDTF">2014-11-07T18:58:41Z</dcterms:created>
  <dcterms:modified xsi:type="dcterms:W3CDTF">2015-12-03T20:43:09Z</dcterms:modified>
</cp:coreProperties>
</file>